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png" ContentType="image/png"/>
  <Default Extension="jpeg" ContentType="image/jpeg"/>
  <Override PartName="/_rels/.rels" ContentType="application/vnd.openxmlformats-package.relationship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_rels/item1.xml.rels" ContentType="application/vnd.openxmlformats-package.relationships+xml"/>
  <Override PartName="/customXml/_rels/item2.xml.rels" ContentType="application/vnd.openxmlformats-package.relationships+xml"/>
  <Override PartName="/customXml/_rels/item3.xml.rels" ContentType="application/vnd.openxmlformats-package.relationships+xml"/>
  <Override PartName="/customXml/itemProps2.xml" ContentType="application/vnd.openxmlformats-officedocument.customXmlProperties+xml"/>
  <Override PartName="/customXml/item3.xml" ContentType="application/xml"/>
  <Override PartName="/customXml/itemProps3.xml" ContentType="application/vnd.openxmlformats-officedocument.customXmlPropertie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_rels/slideMaster1.xml.rels" ContentType="application/vnd.openxmlformats-package.relationships+xml"/>
  <Override PartName="/ppt/notesMasters/notesMaster1.xml" ContentType="application/vnd.openxmlformats-officedocument.presentationml.notesMaster+xml"/>
  <Override PartName="/ppt/notesMasters/_rels/notesMaster1.xml.rels" ContentType="application/vnd.openxmlformats-package.relationships+xml"/>
  <Override PartName="/ppt/theme/theme1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_rels/notesSlide1.xml.rels" ContentType="application/vnd.openxmlformats-package.relationships+xml"/>
  <Override PartName="/ppt/embeddings/oleObject1.bin" ContentType="application/vnd.openxmlformats-officedocument.oleObject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_rels/slideLayout1.xml.rels" ContentType="application/vnd.openxmlformats-package.relationships+xml"/>
  <Override PartName="/ppt/slideLayouts/_rels/slideLayout2.xml.rels" ContentType="application/vnd.openxmlformats-package.relationships+xml"/>
  <Override PartName="/ppt/slideLayouts/_rels/slideLayout3.xml.rels" ContentType="application/vnd.openxmlformats-package.relationships+xml"/>
  <Override PartName="/ppt/media/image1.wmf" ContentType="image/x-wmf"/>
  <Override PartName="/ppt/media/image2.png" ContentType="image/png"/>
  <Override PartName="/ppt/media/image4.jpeg" ContentType="image/jpeg"/>
  <Override PartName="/ppt/media/image3.jpeg" ContentType="image/jpeg"/>
  <Override PartName="/ppt/media/image5.png" ContentType="image/png"/>
  <Override PartName="/ppt/media/image6.jpeg" ContentType="image/jpeg"/>
  <Override PartName="/ppt/media/image7.png" ContentType="image/png"/>
  <Override PartName="/ppt/media/image8.jpeg" ContentType="image/jpeg"/>
  <Override PartName="/ppt/media/image9.jpeg" ContentType="image/jpeg"/>
  <Override PartName="/ppt/media/image10.jpeg" ContentType="image/jpeg"/>
  <Override PartName="/ppt/media/image11.jpeg" ContentType="image/jpeg"/>
  <Override PartName="/ppt/media/image12.jpeg" ContentType="image/jpe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3.xml" ContentType="application/vnd.openxmlformats-officedocument.presentationml.slide+xml"/>
  <Override PartName="/ppt/slides/slide21.xml" ContentType="application/vnd.openxmlformats-officedocument.presentationml.slide+xml"/>
  <Override PartName="/ppt/slides/slide4.xml" ContentType="application/vnd.openxmlformats-officedocument.presentationml.slide+xml"/>
  <Override PartName="/ppt/slides/slide22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23.xml" ContentType="application/vnd.openxmlformats-officedocument.presentationml.slide+xml"/>
  <Override PartName="/ppt/slides/slide7.xml" ContentType="application/vnd.openxmlformats-officedocument.presentationml.slide+xml"/>
  <Override PartName="/ppt/slides/slide24.xml" ContentType="application/vnd.openxmlformats-officedocument.presentationml.slide+xml"/>
  <Override PartName="/ppt/slides/slide8.xml" ContentType="application/vnd.openxmlformats-officedocument.presentationml.slide+xml"/>
  <Override PartName="/ppt/slides/slide25.xml" ContentType="application/vnd.openxmlformats-officedocument.presentationml.slide+xml"/>
  <Override PartName="/ppt/slides/slide9.xml" ContentType="application/vnd.openxmlformats-officedocument.presentationml.slide+xml"/>
  <Override PartName="/ppt/slides/slide26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_rels/slide35.xml.rels" ContentType="application/vnd.openxmlformats-package.relationships+xml"/>
  <Override PartName="/ppt/slides/_rels/slide1.xml.rels" ContentType="application/vnd.openxmlformats-package.relationships+xml"/>
  <Override PartName="/ppt/slides/_rels/slide22.xml.rels" ContentType="application/vnd.openxmlformats-package.relationships+xml"/>
  <Override PartName="/ppt/slides/_rels/slide36.xml.rels" ContentType="application/vnd.openxmlformats-package.relationships+xml"/>
  <Override PartName="/ppt/slides/_rels/slide2.xml.rels" ContentType="application/vnd.openxmlformats-package.relationships+xml"/>
  <Override PartName="/ppt/slides/_rels/slide20.xml.rels" ContentType="application/vnd.openxmlformats-package.relationships+xml"/>
  <Override PartName="/ppt/slides/_rels/slide37.xml.rels" ContentType="application/vnd.openxmlformats-package.relationships+xml"/>
  <Override PartName="/ppt/slides/_rels/slide3.xml.rels" ContentType="application/vnd.openxmlformats-package.relationships+xml"/>
  <Override PartName="/ppt/slides/_rels/slide21.xml.rels" ContentType="application/vnd.openxmlformats-package.relationships+xml"/>
  <Override PartName="/ppt/slides/_rels/slide4.xml.rels" ContentType="application/vnd.openxmlformats-package.relationships+xml"/>
  <Override PartName="/ppt/slides/_rels/slide38.xml.rels" ContentType="application/vnd.openxmlformats-package.relationships+xml"/>
  <Override PartName="/ppt/slides/_rels/slide5.xml.rels" ContentType="application/vnd.openxmlformats-package.relationships+xml"/>
  <Override PartName="/ppt/slides/_rels/slide39.xml.rels" ContentType="application/vnd.openxmlformats-package.relationships+xml"/>
  <Override PartName="/ppt/slides/_rels/slide23.xml.rels" ContentType="application/vnd.openxmlformats-package.relationships+xml"/>
  <Override PartName="/ppt/slides/_rels/slide6.xml.rels" ContentType="application/vnd.openxmlformats-package.relationships+xml"/>
  <Override PartName="/ppt/slides/_rels/slide50.xml.rels" ContentType="application/vnd.openxmlformats-package.relationships+xml"/>
  <Override PartName="/ppt/slides/_rels/slide24.xml.rels" ContentType="application/vnd.openxmlformats-package.relationships+xml"/>
  <Override PartName="/ppt/slides/_rels/slide7.xml.rels" ContentType="application/vnd.openxmlformats-package.relationships+xml"/>
  <Override PartName="/ppt/slides/_rels/slide51.xml.rels" ContentType="application/vnd.openxmlformats-package.relationships+xml"/>
  <Override PartName="/ppt/slides/_rels/slide25.xml.rels" ContentType="application/vnd.openxmlformats-package.relationships+xml"/>
  <Override PartName="/ppt/slides/_rels/slide8.xml.rels" ContentType="application/vnd.openxmlformats-package.relationships+xml"/>
  <Override PartName="/ppt/slides/_rels/slide52.xml.rels" ContentType="application/vnd.openxmlformats-package.relationships+xml"/>
  <Override PartName="/ppt/slides/_rels/slide26.xml.rels" ContentType="application/vnd.openxmlformats-package.relationships+xml"/>
  <Override PartName="/ppt/slides/_rels/slide9.xml.rels" ContentType="application/vnd.openxmlformats-package.relationships+xml"/>
  <Override PartName="/ppt/slides/_rels/slide53.xml.rels" ContentType="application/vnd.openxmlformats-package.relationships+xml"/>
  <Override PartName="/ppt/slides/_rels/slide10.xml.rels" ContentType="application/vnd.openxmlformats-package.relationships+xml"/>
  <Override PartName="/ppt/slides/_rels/slide11.xml.rels" ContentType="application/vnd.openxmlformats-package.relationships+xml"/>
  <Override PartName="/ppt/slides/_rels/slide12.xml.rels" ContentType="application/vnd.openxmlformats-package.relationships+xml"/>
  <Override PartName="/ppt/slides/_rels/slide13.xml.rels" ContentType="application/vnd.openxmlformats-package.relationships+xml"/>
  <Override PartName="/ppt/slides/_rels/slide14.xml.rels" ContentType="application/vnd.openxmlformats-package.relationships+xml"/>
  <Override PartName="/ppt/slides/_rels/slide15.xml.rels" ContentType="application/vnd.openxmlformats-package.relationships+xml"/>
  <Override PartName="/ppt/slides/_rels/slide16.xml.rels" ContentType="application/vnd.openxmlformats-package.relationships+xml"/>
  <Override PartName="/ppt/slides/_rels/slide17.xml.rels" ContentType="application/vnd.openxmlformats-package.relationships+xml"/>
  <Override PartName="/ppt/slides/_rels/slide18.xml.rels" ContentType="application/vnd.openxmlformats-package.relationships+xml"/>
  <Override PartName="/ppt/slides/_rels/slide19.xml.rels" ContentType="application/vnd.openxmlformats-package.relationships+xml"/>
  <Override PartName="/ppt/slides/_rels/slide27.xml.rels" ContentType="application/vnd.openxmlformats-package.relationships+xml"/>
  <Override PartName="/ppt/slides/_rels/slide28.xml.rels" ContentType="application/vnd.openxmlformats-package.relationships+xml"/>
  <Override PartName="/ppt/slides/_rels/slide29.xml.rels" ContentType="application/vnd.openxmlformats-package.relationships+xml"/>
  <Override PartName="/ppt/slides/_rels/slide30.xml.rels" ContentType="application/vnd.openxmlformats-package.relationships+xml"/>
  <Override PartName="/ppt/slides/_rels/slide31.xml.rels" ContentType="application/vnd.openxmlformats-package.relationships+xml"/>
  <Override PartName="/ppt/slides/_rels/slide32.xml.rels" ContentType="application/vnd.openxmlformats-package.relationships+xml"/>
  <Override PartName="/ppt/slides/_rels/slide33.xml.rels" ContentType="application/vnd.openxmlformats-package.relationships+xml"/>
  <Override PartName="/ppt/slides/_rels/slide34.xml.rels" ContentType="application/vnd.openxmlformats-package.relationships+xml"/>
  <Override PartName="/ppt/slides/_rels/slide40.xml.rels" ContentType="application/vnd.openxmlformats-package.relationships+xml"/>
  <Override PartName="/ppt/slides/_rels/slide41.xml.rels" ContentType="application/vnd.openxmlformats-package.relationships+xml"/>
  <Override PartName="/ppt/slides/_rels/slide42.xml.rels" ContentType="application/vnd.openxmlformats-package.relationships+xml"/>
  <Override PartName="/ppt/slides/_rels/slide43.xml.rels" ContentType="application/vnd.openxmlformats-package.relationships+xml"/>
  <Override PartName="/ppt/slides/_rels/slide44.xml.rels" ContentType="application/vnd.openxmlformats-package.relationships+xml"/>
  <Override PartName="/ppt/slides/_rels/slide45.xml.rels" ContentType="application/vnd.openxmlformats-package.relationships+xml"/>
  <Override PartName="/ppt/slides/_rels/slide46.xml.rels" ContentType="application/vnd.openxmlformats-package.relationships+xml"/>
  <Override PartName="/ppt/slides/_rels/slide47.xml.rels" ContentType="application/vnd.openxmlformats-package.relationships+xml"/>
  <Override PartName="/ppt/slides/_rels/slide48.xml.rels" ContentType="application/vnd.openxmlformats-package.relationships+xml"/>
  <Override PartName="/ppt/slides/_rels/slide49.xml.rels" ContentType="application/vnd.openxmlformats-package.relationships+xml"/>
  <Override PartName="/ppt/slides/_rels/slide54.xml.rels" ContentType="application/vnd.openxmlformats-package.relationships+xml"/>
  <Override PartName="/ppt/slides/_rels/slide55.xml.rels" ContentType="application/vnd.openxmlformats-package.relationships+xml"/>
  <Override PartName="/ppt/presProps.xml" ContentType="application/vnd.openxmlformats-officedocument.presentationml.presProps+xml"/>
  <Override PartName="/ppt/_rels/presentation.xml.rels" ContentType="application/vnd.openxmlformats-package.relationships+xml"/>
</Types>
</file>

<file path=_rels/.rels><?xml version="1.0" encoding="UTF-8"?>
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3" Type="http://schemas.openxmlformats.org/officeDocument/2006/relationships/custom-properties" Target="docProps/custom.xml"/><Relationship Id="rId4" Type="http://schemas.openxmlformats.org/officeDocument/2006/relationships/customXml" Target="../customXml/item1.xml"/><Relationship Id="rId5" Type="http://schemas.openxmlformats.org/officeDocument/2006/relationships/customXml" Target="../customXml/item2.xml"/><Relationship Id="rId6" Type="http://schemas.openxmlformats.org/officeDocument/2006/relationships/customXml" Target="../customXml/item3.xml"/><Relationship Id="rId7" Type="http://schemas.microsoft.com/office/2020/02/relationships/classificationlabels" Target="docMetadata/LabelInfo.xml"/><Relationship Id="rId8" Type="http://schemas.openxmlformats.org/officeDocument/2006/relationships/officeDocument" Target="ppt/presentation.xml"/>
</Relationships>
</file>

<file path=ppt/presentation.xml><?xml version="1.0" encoding="utf-8"?>
<p:presentation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sldMasterIdLst>
    <p:sldMasterId id="2147483648" r:id="rId2"/>
  </p:sldMasterIdLst>
  <p:notesMasterIdLst>
    <p:notesMasterId r:id="rId3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3" r:id="rId21"/>
    <p:sldId id="274" r:id="rId22"/>
    <p:sldId id="275" r:id="rId23"/>
    <p:sldId id="276" r:id="rId24"/>
    <p:sldId id="277" r:id="rId25"/>
    <p:sldId id="278" r:id="rId26"/>
    <p:sldId id="279" r:id="rId27"/>
    <p:sldId id="280" r:id="rId28"/>
    <p:sldId id="281" r:id="rId29"/>
    <p:sldId id="282" r:id="rId30"/>
    <p:sldId id="283" r:id="rId31"/>
    <p:sldId id="284" r:id="rId32"/>
    <p:sldId id="285" r:id="rId33"/>
    <p:sldId id="286" r:id="rId34"/>
    <p:sldId id="287" r:id="rId35"/>
    <p:sldId id="288" r:id="rId36"/>
    <p:sldId id="289" r:id="rId37"/>
    <p:sldId id="290" r:id="rId38"/>
    <p:sldId id="291" r:id="rId39"/>
    <p:sldId id="292" r:id="rId40"/>
    <p:sldId id="293" r:id="rId41"/>
    <p:sldId id="294" r:id="rId42"/>
    <p:sldId id="295" r:id="rId43"/>
    <p:sldId id="296" r:id="rId44"/>
    <p:sldId id="297" r:id="rId45"/>
    <p:sldId id="298" r:id="rId46"/>
    <p:sldId id="299" r:id="rId47"/>
    <p:sldId id="300" r:id="rId48"/>
    <p:sldId id="301" r:id="rId49"/>
    <p:sldId id="302" r:id="rId50"/>
    <p:sldId id="303" r:id="rId51"/>
    <p:sldId id="304" r:id="rId52"/>
    <p:sldId id="305" r:id="rId53"/>
    <p:sldId id="306" r:id="rId54"/>
    <p:sldId id="307" r:id="rId55"/>
    <p:sldId id="308" r:id="rId56"/>
    <p:sldId id="309" r:id="rId57"/>
    <p:sldId id="310" r:id="rId58"/>
  </p:sldIdLst>
  <p:sldSz cx="12192000" cy="6858000"/>
  <p:notesSz cx="6797675" cy="9928225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/>
</p:presentationPr>
</file>

<file path=ppt/_rels/presentation.xml.rels><?xml version="1.0" encoding="UTF-8"?>
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3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slide" Target="slides/slide22.xml"/><Relationship Id="rId26" Type="http://schemas.openxmlformats.org/officeDocument/2006/relationships/slide" Target="slides/slide23.xml"/><Relationship Id="rId27" Type="http://schemas.openxmlformats.org/officeDocument/2006/relationships/slide" Target="slides/slide24.xml"/><Relationship Id="rId28" Type="http://schemas.openxmlformats.org/officeDocument/2006/relationships/slide" Target="slides/slide25.xml"/><Relationship Id="rId29" Type="http://schemas.openxmlformats.org/officeDocument/2006/relationships/slide" Target="slides/slide26.xml"/><Relationship Id="rId30" Type="http://schemas.openxmlformats.org/officeDocument/2006/relationships/slide" Target="slides/slide27.xml"/><Relationship Id="rId31" Type="http://schemas.openxmlformats.org/officeDocument/2006/relationships/slide" Target="slides/slide28.xml"/><Relationship Id="rId32" Type="http://schemas.openxmlformats.org/officeDocument/2006/relationships/slide" Target="slides/slide29.xml"/><Relationship Id="rId33" Type="http://schemas.openxmlformats.org/officeDocument/2006/relationships/slide" Target="slides/slide30.xml"/><Relationship Id="rId34" Type="http://schemas.openxmlformats.org/officeDocument/2006/relationships/slide" Target="slides/slide31.xml"/><Relationship Id="rId35" Type="http://schemas.openxmlformats.org/officeDocument/2006/relationships/slide" Target="slides/slide32.xml"/><Relationship Id="rId36" Type="http://schemas.openxmlformats.org/officeDocument/2006/relationships/slide" Target="slides/slide33.xml"/><Relationship Id="rId37" Type="http://schemas.openxmlformats.org/officeDocument/2006/relationships/slide" Target="slides/slide34.xml"/><Relationship Id="rId38" Type="http://schemas.openxmlformats.org/officeDocument/2006/relationships/slide" Target="slides/slide35.xml"/><Relationship Id="rId39" Type="http://schemas.openxmlformats.org/officeDocument/2006/relationships/slide" Target="slides/slide36.xml"/><Relationship Id="rId40" Type="http://schemas.openxmlformats.org/officeDocument/2006/relationships/slide" Target="slides/slide37.xml"/><Relationship Id="rId41" Type="http://schemas.openxmlformats.org/officeDocument/2006/relationships/slide" Target="slides/slide38.xml"/><Relationship Id="rId42" Type="http://schemas.openxmlformats.org/officeDocument/2006/relationships/slide" Target="slides/slide39.xml"/><Relationship Id="rId43" Type="http://schemas.openxmlformats.org/officeDocument/2006/relationships/slide" Target="slides/slide40.xml"/><Relationship Id="rId44" Type="http://schemas.openxmlformats.org/officeDocument/2006/relationships/slide" Target="slides/slide41.xml"/><Relationship Id="rId45" Type="http://schemas.openxmlformats.org/officeDocument/2006/relationships/slide" Target="slides/slide42.xml"/><Relationship Id="rId46" Type="http://schemas.openxmlformats.org/officeDocument/2006/relationships/slide" Target="slides/slide43.xml"/><Relationship Id="rId47" Type="http://schemas.openxmlformats.org/officeDocument/2006/relationships/slide" Target="slides/slide44.xml"/><Relationship Id="rId48" Type="http://schemas.openxmlformats.org/officeDocument/2006/relationships/slide" Target="slides/slide45.xml"/><Relationship Id="rId49" Type="http://schemas.openxmlformats.org/officeDocument/2006/relationships/slide" Target="slides/slide46.xml"/><Relationship Id="rId50" Type="http://schemas.openxmlformats.org/officeDocument/2006/relationships/slide" Target="slides/slide47.xml"/><Relationship Id="rId51" Type="http://schemas.openxmlformats.org/officeDocument/2006/relationships/slide" Target="slides/slide48.xml"/><Relationship Id="rId52" Type="http://schemas.openxmlformats.org/officeDocument/2006/relationships/slide" Target="slides/slide49.xml"/><Relationship Id="rId53" Type="http://schemas.openxmlformats.org/officeDocument/2006/relationships/slide" Target="slides/slide50.xml"/><Relationship Id="rId54" Type="http://schemas.openxmlformats.org/officeDocument/2006/relationships/slide" Target="slides/slide51.xml"/><Relationship Id="rId55" Type="http://schemas.openxmlformats.org/officeDocument/2006/relationships/slide" Target="slides/slide52.xml"/><Relationship Id="rId56" Type="http://schemas.openxmlformats.org/officeDocument/2006/relationships/slide" Target="slides/slide53.xml"/><Relationship Id="rId57" Type="http://schemas.openxmlformats.org/officeDocument/2006/relationships/slide" Target="slides/slide54.xml"/><Relationship Id="rId58" Type="http://schemas.openxmlformats.org/officeDocument/2006/relationships/slide" Target="slides/slide55.xml"/><Relationship Id="rId59" Type="http://schemas.openxmlformats.org/officeDocument/2006/relationships/presProps" Target="presProps.xml"/>
</Relationships>
</file>

<file path=ppt/notesMasters/_rels/notesMaster1.xml.rels><?xml version="1.0" encoding="UTF-8"?>
<Relationships xmlns="http://schemas.openxmlformats.org/package/2006/relationships"><Relationship Id="rId1" Type="http://schemas.openxmlformats.org/officeDocument/2006/relationships/theme" Target="../theme/theme4.xml"/>
</Relationships>
</file>

<file path=ppt/notesMasters/notesMaster1.xml><?xml version="1.0" encoding="utf-8"?>
<p:notes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ceHolder 1"/>
          <p:cNvSpPr>
            <a:spLocks noGrp="1"/>
          </p:cNvSpPr>
          <p:nvPr>
            <p:ph type="sldImg"/>
          </p:nvPr>
        </p:nvSpPr>
        <p:spPr>
          <a:xfrm>
            <a:off x="216000" y="812520"/>
            <a:ext cx="7127280" cy="4008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r>
              <a:rPr b="0" lang="el-GR" sz="1400" strike="noStrike" u="none">
                <a:solidFill>
                  <a:srgbClr val="000000"/>
                </a:solidFill>
                <a:effectLst/>
                <a:uFillTx/>
                <a:latin typeface="Arial"/>
              </a:rPr>
              <a:t>Πατήστε για μετακίνηση της διαφάνειας</a:t>
            </a:r>
            <a:endParaRPr b="0" lang="el-GR" sz="14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sp>
        <p:nvSpPr>
          <p:cNvPr id="18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buNone/>
            </a:pPr>
            <a:r>
              <a:rPr b="0" lang="el-GR" sz="2000" strike="noStrike" u="none">
                <a:solidFill>
                  <a:srgbClr val="000000"/>
                </a:solidFill>
                <a:effectLst/>
                <a:uFillTx/>
                <a:latin typeface="Arial"/>
              </a:rPr>
              <a:t>Πατήστε για επεξεργασία της μορφής των σημειώσεων</a:t>
            </a:r>
            <a:endParaRPr b="0" lang="el-GR" sz="20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sp>
        <p:nvSpPr>
          <p:cNvPr id="19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buNone/>
            </a:pPr>
            <a:r>
              <a:rPr b="0" lang="el-GR" sz="1400" strike="noStrike" u="none">
                <a:solidFill>
                  <a:srgbClr val="000000"/>
                </a:solidFill>
                <a:effectLst/>
                <a:uFillTx/>
                <a:latin typeface="Times New Roman"/>
              </a:rPr>
              <a:t>&lt;κεφαλίδα&gt;</a:t>
            </a:r>
            <a:endParaRPr b="0" lang="el-GR" sz="1400" strike="noStrike" u="none">
              <a:solidFill>
                <a:srgbClr val="000000"/>
              </a:solidFill>
              <a:effectLst/>
              <a:uFillTx/>
              <a:latin typeface="Times New Roman"/>
            </a:endParaRPr>
          </a:p>
        </p:txBody>
      </p:sp>
      <p:sp>
        <p:nvSpPr>
          <p:cNvPr id="20" name="PlaceHolder 4"/>
          <p:cNvSpPr>
            <a:spLocks noGrp="1"/>
          </p:cNvSpPr>
          <p:nvPr>
            <p:ph type="dt" idx="3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>
              <a:buNone/>
              <a:defRPr b="0" lang="el-GR" sz="1400" strike="noStrike" u="none">
                <a:solidFill>
                  <a:srgbClr val="000000"/>
                </a:solidFill>
                <a:effectLst/>
                <a:uFillTx/>
                <a:latin typeface="Times New Roman"/>
              </a:defRPr>
            </a:lvl1pPr>
          </a:lstStyle>
          <a:p>
            <a:pPr indent="0" algn="r">
              <a:buNone/>
            </a:pPr>
            <a:r>
              <a:rPr b="0" lang="el-GR" sz="1400" strike="noStrike" u="none">
                <a:solidFill>
                  <a:srgbClr val="000000"/>
                </a:solidFill>
                <a:effectLst/>
                <a:uFillTx/>
                <a:latin typeface="Times New Roman"/>
              </a:rPr>
              <a:t>&lt;ημερομηνία/ώρα&gt;</a:t>
            </a:r>
            <a:endParaRPr b="0" lang="el-GR" sz="1400" strike="noStrike" u="none">
              <a:solidFill>
                <a:srgbClr val="000000"/>
              </a:solidFill>
              <a:effectLst/>
              <a:uFillTx/>
              <a:latin typeface="Times New Roman"/>
            </a:endParaRPr>
          </a:p>
        </p:txBody>
      </p:sp>
      <p:sp>
        <p:nvSpPr>
          <p:cNvPr id="21" name="PlaceHolder 5"/>
          <p:cNvSpPr>
            <a:spLocks noGrp="1"/>
          </p:cNvSpPr>
          <p:nvPr>
            <p:ph type="ftr" idx="4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indent="0">
              <a:buNone/>
              <a:defRPr b="0" lang="el-GR" sz="1400" strike="noStrike" u="none">
                <a:solidFill>
                  <a:srgbClr val="000000"/>
                </a:solidFill>
                <a:effectLst/>
                <a:uFillTx/>
                <a:latin typeface="Times New Roman"/>
              </a:defRPr>
            </a:lvl1pPr>
          </a:lstStyle>
          <a:p>
            <a:pPr indent="0">
              <a:buNone/>
            </a:pPr>
            <a:r>
              <a:rPr b="0" lang="el-GR" sz="1400" strike="noStrike" u="none">
                <a:solidFill>
                  <a:srgbClr val="000000"/>
                </a:solidFill>
                <a:effectLst/>
                <a:uFillTx/>
                <a:latin typeface="Times New Roman"/>
              </a:rPr>
              <a:t>&lt;υποσέλιδο&gt;</a:t>
            </a:r>
            <a:endParaRPr b="0" lang="el-GR" sz="1400" strike="noStrike" u="none">
              <a:solidFill>
                <a:srgbClr val="000000"/>
              </a:solidFill>
              <a:effectLst/>
              <a:uFillTx/>
              <a:latin typeface="Times New Roman"/>
            </a:endParaRPr>
          </a:p>
        </p:txBody>
      </p:sp>
      <p:sp>
        <p:nvSpPr>
          <p:cNvPr id="22" name="PlaceHolder 6"/>
          <p:cNvSpPr>
            <a:spLocks noGrp="1"/>
          </p:cNvSpPr>
          <p:nvPr>
            <p:ph type="sldNum" idx="5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indent="0" algn="r">
              <a:buNone/>
              <a:defRPr b="0" lang="el-GR" sz="1400" strike="noStrike" u="none">
                <a:solidFill>
                  <a:srgbClr val="000000"/>
                </a:solidFill>
                <a:effectLst/>
                <a:uFillTx/>
                <a:latin typeface="Times New Roman"/>
              </a:defRPr>
            </a:lvl1pPr>
          </a:lstStyle>
          <a:p>
            <a:pPr indent="0" algn="r">
              <a:buNone/>
            </a:pPr>
            <a:fld id="{3C7A9C0B-5F1A-45C3-A5A0-EAC5131C71D7}" type="slidenum">
              <a:rPr b="0" lang="el-GR" sz="1400" strike="noStrike" u="none">
                <a:solidFill>
                  <a:srgbClr val="000000"/>
                </a:solidFill>
                <a:effectLst/>
                <a:uFillTx/>
                <a:latin typeface="Times New Roman"/>
              </a:rPr>
              <a:t>&lt;αριθμός&gt;</a:t>
            </a:fld>
            <a:endParaRPr b="0" lang="el-GR" sz="1400" strike="noStrike" u="none">
              <a:solidFill>
                <a:srgbClr val="000000"/>
              </a:solidFill>
              <a:effectLst/>
              <a:uFillTx/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</p:notesMaster>
</file>

<file path=ppt/notesSlides/_rels/notesSlide1.xml.rels><?xml version="1.0" encoding="UTF-8"?>
<Relationships xmlns="http://schemas.openxmlformats.org/package/2006/relationships"><Relationship Id="rId1" Type="http://schemas.openxmlformats.org/officeDocument/2006/relationships/slide" Target="../slides/slide1.xml"/><Relationship Id="rId2" Type="http://schemas.openxmlformats.org/officeDocument/2006/relationships/notesMaster" Target="../notesMasters/notesMaster1.xml"/>
</Relationships>
</file>

<file path=ppt/notesSlides/notesSlide1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PlaceHolder 1"/>
          <p:cNvSpPr>
            <a:spLocks noGrp="1"/>
          </p:cNvSpPr>
          <p:nvPr>
            <p:ph type="sldImg"/>
          </p:nvPr>
        </p:nvSpPr>
        <p:spPr>
          <a:xfrm>
            <a:off x="422280" y="1241280"/>
            <a:ext cx="5952600" cy="3349440"/>
          </a:xfrm>
          <a:prstGeom prst="rect">
            <a:avLst/>
          </a:prstGeom>
          <a:ln w="0">
            <a:noFill/>
          </a:ln>
        </p:spPr>
      </p:sp>
      <p:sp>
        <p:nvSpPr>
          <p:cNvPr id="158" name="PlaceHolder 2"/>
          <p:cNvSpPr>
            <a:spLocks noGrp="1"/>
          </p:cNvSpPr>
          <p:nvPr>
            <p:ph type="body"/>
          </p:nvPr>
        </p:nvSpPr>
        <p:spPr>
          <a:xfrm>
            <a:off x="679680" y="4777920"/>
            <a:ext cx="5437800" cy="39088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indent="0">
              <a:buNone/>
            </a:pPr>
            <a:endParaRPr b="0" lang="el-GR" sz="1200" strike="noStrike" u="none">
              <a:solidFill>
                <a:schemeClr val="dk1"/>
              </a:solidFill>
              <a:effectLst/>
              <a:uFillTx/>
              <a:latin typeface="Roboto"/>
              <a:ea typeface="Roboto"/>
            </a:endParaRPr>
          </a:p>
        </p:txBody>
      </p:sp>
      <p:sp>
        <p:nvSpPr>
          <p:cNvPr id="159" name="PlaceHolder 3"/>
          <p:cNvSpPr>
            <a:spLocks noGrp="1"/>
          </p:cNvSpPr>
          <p:nvPr>
            <p:ph type="sldNum" idx="6"/>
          </p:nvPr>
        </p:nvSpPr>
        <p:spPr>
          <a:xfrm>
            <a:off x="3850560" y="9430200"/>
            <a:ext cx="2945520" cy="4978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0" lang="el-GR" sz="1200" strike="noStrike" u="none">
                <a:solidFill>
                  <a:srgbClr val="000000"/>
                </a:solidFill>
                <a:effectLst/>
                <a:uFillTx/>
                <a:latin typeface="Roboto"/>
                <a:ea typeface="Roboto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0AED8367-DED4-4317-9925-2DBE0847F7B6}" type="slidenum">
              <a:rPr b="0" lang="el-GR" sz="1200" strike="noStrike" u="none">
                <a:solidFill>
                  <a:srgbClr val="000000"/>
                </a:solidFill>
                <a:effectLst/>
                <a:uFillTx/>
                <a:latin typeface="Roboto"/>
                <a:ea typeface="Roboto"/>
              </a:rPr>
              <a:t>&lt;αριθμός&gt;</a:t>
            </a:fld>
            <a:endParaRPr b="0" lang="el-GR" sz="1200" strike="noStrike" u="none">
              <a:solidFill>
                <a:srgbClr val="000000"/>
              </a:solidFill>
              <a:effectLst/>
              <a:uFillTx/>
              <a:latin typeface="Times New Roman"/>
            </a:endParaRPr>
          </a:p>
        </p:txBody>
      </p:sp>
    </p:spTree>
  </p:cSld>
</p:notes>
</file>

<file path=ppt/slideLayouts/_rels/slideLayout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
</Relationships>
</file>

<file path=ppt/slideLayouts/_rels/slideLayout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image" Target="../media/image2.png"/><Relationship Id="rId5" Type="http://schemas.openxmlformats.org/officeDocument/2006/relationships/image" Target="../media/image3.jpeg"/>
</Relationships>
</file>

<file path=ppt/slideLayouts/_rels/slideLayout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image" Target="../media/image2.png"/><Relationship Id="rId5" Type="http://schemas.openxmlformats.org/officeDocument/2006/relationships/image" Target="../media/image3.jpeg"/>
</Relationships>
</file>

<file path=ppt/slideLayouts/slideLayout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1_Title Slide">
    <p:bg>
      <p:bgPr>
        <a:solidFill>
          <a:schemeClr val="lt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0" name="think-cell data - do not delete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" name="think-cell data - do not delete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1080" cy="1080"/>
                  </a:xfrm>
                  <a:prstGeom prst="rect">
                    <a:avLst/>
                  </a:prstGeom>
                  <a:noFill/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r>
              <a:rPr b="0" lang="el-GR" sz="1400" strike="noStrike" u="none">
                <a:solidFill>
                  <a:srgbClr val="000000"/>
                </a:solidFill>
                <a:effectLst/>
                <a:uFillTx/>
                <a:latin typeface="Arial"/>
              </a:rPr>
              <a:t>Πατήστε για επεξεργασία της μορφής κειμένου του τίτλου</a:t>
            </a:r>
            <a:endParaRPr b="0" lang="el-GR" sz="14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l-GR" sz="1400" strike="noStrike" u="none">
                <a:solidFill>
                  <a:srgbClr val="000000"/>
                </a:solidFill>
                <a:effectLst/>
                <a:uFillTx/>
                <a:latin typeface="Arial"/>
              </a:rPr>
              <a:t>Πατήστε για επεξεργασία της μορφής κειμένου διάρθρωσης</a:t>
            </a:r>
            <a:endParaRPr b="0" lang="el-GR" sz="14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l-GR" sz="1400" strike="noStrike" u="none">
                <a:solidFill>
                  <a:srgbClr val="000000"/>
                </a:solidFill>
                <a:effectLst/>
                <a:uFillTx/>
                <a:latin typeface="Arial"/>
              </a:rPr>
              <a:t>Δεύτερο επίπεδο διάρθρωσης</a:t>
            </a:r>
            <a:endParaRPr b="0" lang="el-GR" sz="14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l-GR" sz="1400" strike="noStrike" u="none">
                <a:solidFill>
                  <a:srgbClr val="000000"/>
                </a:solidFill>
                <a:effectLst/>
                <a:uFillTx/>
                <a:latin typeface="Arial"/>
              </a:rPr>
              <a:t>Τρίτο επίπεδο διάρθρωσης</a:t>
            </a:r>
            <a:endParaRPr b="0" lang="el-GR" sz="14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l-GR" sz="1400" strike="noStrike" u="none">
                <a:solidFill>
                  <a:srgbClr val="000000"/>
                </a:solidFill>
                <a:effectLst/>
                <a:uFillTx/>
                <a:latin typeface="Arial"/>
              </a:rPr>
              <a:t>Τέταρτο επίπεδο διάρθρωσης</a:t>
            </a:r>
            <a:endParaRPr b="0" lang="el-GR" sz="14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l-GR" sz="2000" strike="noStrike" u="none">
                <a:solidFill>
                  <a:srgbClr val="000000"/>
                </a:solidFill>
                <a:effectLst/>
                <a:uFillTx/>
                <a:latin typeface="Arial"/>
              </a:rPr>
              <a:t>Πέμπτο επίπεδο διάρθρωσης</a:t>
            </a:r>
            <a:endParaRPr b="0" lang="el-GR" sz="20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l-GR" sz="2000" strike="noStrike" u="none">
                <a:solidFill>
                  <a:srgbClr val="000000"/>
                </a:solidFill>
                <a:effectLst/>
                <a:uFillTx/>
                <a:latin typeface="Arial"/>
              </a:rPr>
              <a:t>Έκτο επίπεδο διάρθρωσης</a:t>
            </a:r>
            <a:endParaRPr b="0" lang="el-GR" sz="20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l-GR" sz="2000" strike="noStrike" u="none">
                <a:solidFill>
                  <a:srgbClr val="000000"/>
                </a:solidFill>
                <a:effectLst/>
                <a:uFillTx/>
                <a:latin typeface="Arial"/>
              </a:rPr>
              <a:t>Έβδομο επίπεδο διάρθρωσης</a:t>
            </a:r>
            <a:endParaRPr b="0" lang="el-GR" sz="20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</p:spTree>
  </p:cSld>
</p:sldLayout>
</file>

<file path=ppt/slideLayouts/slideLayout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14_Custom Layout_1">
    <p:bg>
      <p:bgPr>
        <a:solidFill>
          <a:schemeClr val="lt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5" name="think-cell data - do not delete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1080" cy="1080"/>
                  </a:xfrm>
                  <a:prstGeom prst="rect">
                    <a:avLst/>
                  </a:prstGeom>
                  <a:noFill/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6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83484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buNone/>
            </a:pPr>
            <a:r>
              <a:rPr b="0" lang="el-GR" sz="2600" strike="noStrike" u="none">
                <a:solidFill>
                  <a:srgbClr val="000000"/>
                </a:solidFill>
                <a:effectLst/>
                <a:uFillTx/>
                <a:latin typeface="Arial"/>
              </a:rPr>
              <a:t>Πατήστε για επεξεργασία της μορφής κειμένου του τίτλ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sp>
        <p:nvSpPr>
          <p:cNvPr id="7" name="PlaceHolder 2"/>
          <p:cNvSpPr>
            <a:spLocks noGrp="1"/>
          </p:cNvSpPr>
          <p:nvPr>
            <p:ph type="body"/>
          </p:nvPr>
        </p:nvSpPr>
        <p:spPr>
          <a:xfrm>
            <a:off x="326160" y="1077480"/>
            <a:ext cx="11343240" cy="36684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ctr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l-GR" sz="2000" strike="noStrike" u="none">
                <a:solidFill>
                  <a:srgbClr val="000000"/>
                </a:solidFill>
                <a:effectLst/>
                <a:uFillTx/>
                <a:latin typeface="Arial"/>
              </a:rPr>
              <a:t>Πατήστε για επεξεργασία της μορφής κειμένου διάρθρωσης</a:t>
            </a:r>
            <a:endParaRPr b="0" lang="el-GR" sz="20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l-GR" sz="2000" strike="noStrike" u="none">
                <a:solidFill>
                  <a:srgbClr val="000000"/>
                </a:solidFill>
                <a:effectLst/>
                <a:uFillTx/>
                <a:latin typeface="Arial"/>
              </a:rPr>
              <a:t>Δεύτερο επίπεδο διάρθρωσης</a:t>
            </a:r>
            <a:endParaRPr b="0" lang="el-GR" sz="20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l-GR" sz="2000" strike="noStrike" u="none">
                <a:solidFill>
                  <a:srgbClr val="000000"/>
                </a:solidFill>
                <a:effectLst/>
                <a:uFillTx/>
                <a:latin typeface="Arial"/>
              </a:rPr>
              <a:t>Τρίτο επίπεδο διάρθρωσης</a:t>
            </a:r>
            <a:endParaRPr b="0" lang="el-GR" sz="20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l-GR" sz="2000" strike="noStrike" u="none">
                <a:solidFill>
                  <a:srgbClr val="000000"/>
                </a:solidFill>
                <a:effectLst/>
                <a:uFillTx/>
                <a:latin typeface="Arial"/>
              </a:rPr>
              <a:t>Τέταρτο επίπεδο διάρθρωσης</a:t>
            </a:r>
            <a:endParaRPr b="0" lang="el-GR" sz="20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l-GR" sz="2000" strike="noStrike" u="none">
                <a:solidFill>
                  <a:srgbClr val="000000"/>
                </a:solidFill>
                <a:effectLst/>
                <a:uFillTx/>
                <a:latin typeface="Arial"/>
              </a:rPr>
              <a:t>Πέμπτο επίπεδο διάρθρωσης</a:t>
            </a:r>
            <a:endParaRPr b="0" lang="el-GR" sz="20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l-GR" sz="2000" strike="noStrike" u="none">
                <a:solidFill>
                  <a:srgbClr val="000000"/>
                </a:solidFill>
                <a:effectLst/>
                <a:uFillTx/>
                <a:latin typeface="Arial"/>
              </a:rPr>
              <a:t>Έκτο επίπεδο διάρθρωσης</a:t>
            </a:r>
            <a:endParaRPr b="0" lang="el-GR" sz="20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l-GR" sz="2000" strike="noStrike" u="none">
                <a:solidFill>
                  <a:srgbClr val="000000"/>
                </a:solidFill>
                <a:effectLst/>
                <a:uFillTx/>
                <a:latin typeface="Arial"/>
              </a:rPr>
              <a:t>Έβδομο επίπεδο διάρθρωσης</a:t>
            </a:r>
            <a:endParaRPr b="0" lang="el-GR" sz="20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sp>
        <p:nvSpPr>
          <p:cNvPr id="8" name="PlaceHolder 3"/>
          <p:cNvSpPr>
            <a:spLocks noGrp="1"/>
          </p:cNvSpPr>
          <p:nvPr>
            <p:ph type="ftr" idx="1"/>
          </p:nvPr>
        </p:nvSpPr>
        <p:spPr>
          <a:xfrm>
            <a:off x="810000" y="6377040"/>
            <a:ext cx="10314720" cy="2552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ctr">
            <a:noAutofit/>
          </a:bodyPr>
          <a:lstStyle>
            <a:lvl1pPr indent="0" algn="ctr">
              <a:buNone/>
              <a:defRPr b="0" lang="el-GR" sz="1400" strike="noStrike" u="none">
                <a:solidFill>
                  <a:srgbClr val="000000"/>
                </a:solidFill>
                <a:effectLst/>
                <a:uFillTx/>
                <a:latin typeface="Times New Roman"/>
              </a:defRPr>
            </a:lvl1pPr>
          </a:lstStyle>
          <a:p>
            <a:pPr indent="0" algn="ctr">
              <a:buNone/>
            </a:pPr>
            <a:r>
              <a:rPr b="0" lang="el-GR" sz="1400" strike="noStrike" u="none">
                <a:solidFill>
                  <a:srgbClr val="000000"/>
                </a:solidFill>
                <a:effectLst/>
                <a:uFillTx/>
                <a:latin typeface="Times New Roman"/>
              </a:rPr>
              <a:t>&lt;υποσέλιδο&gt;</a:t>
            </a:r>
            <a:endParaRPr b="0" lang="el-GR" sz="1400" strike="noStrike" u="none">
              <a:solidFill>
                <a:srgbClr val="000000"/>
              </a:solidFill>
              <a:effectLst/>
              <a:uFillTx/>
              <a:latin typeface="Times New Roman"/>
            </a:endParaRPr>
          </a:p>
        </p:txBody>
      </p:sp>
      <p:pic>
        <p:nvPicPr>
          <p:cNvPr id="9" name="Picture 2" descr=""/>
          <p:cNvPicPr/>
          <p:nvPr/>
        </p:nvPicPr>
        <p:blipFill>
          <a:blip r:embed="rId4"/>
          <a:stretch/>
        </p:blipFill>
        <p:spPr>
          <a:xfrm>
            <a:off x="0" y="6257520"/>
            <a:ext cx="1822320" cy="56520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0" name="Picture 2" descr="ΕΟΔΥ: Οδηγίες για παραμονή παιδιών &amp; εφήβων στο σπίτι — Stilida.com"/>
          <p:cNvPicPr/>
          <p:nvPr/>
        </p:nvPicPr>
        <p:blipFill>
          <a:blip r:embed="rId5"/>
          <a:stretch/>
        </p:blipFill>
        <p:spPr>
          <a:xfrm>
            <a:off x="1775880" y="6312600"/>
            <a:ext cx="545040" cy="545040"/>
          </a:xfrm>
          <a:prstGeom prst="rect">
            <a:avLst/>
          </a:prstGeom>
          <a:noFill/>
          <a:ln w="0">
            <a:noFill/>
          </a:ln>
        </p:spPr>
      </p:pic>
    </p:spTree>
  </p:cSld>
</p:sldLayout>
</file>

<file path=ppt/slideLayouts/slideLayout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15_Custom Layout 1">
    <p:bg>
      <p:bgPr>
        <a:solidFill>
          <a:schemeClr val="lt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2" name="think-cell data - do not delete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1080" cy="1080"/>
                  </a:xfrm>
                  <a:prstGeom prst="rect">
                    <a:avLst/>
                  </a:prstGeom>
                  <a:noFill/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3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9519120" cy="100908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t">
            <a:noAutofit/>
          </a:bodyPr>
          <a:p>
            <a:pPr indent="0">
              <a:buNone/>
            </a:pPr>
            <a:r>
              <a:rPr b="0" lang="el-GR" sz="3000" strike="noStrike" u="none">
                <a:solidFill>
                  <a:srgbClr val="000000"/>
                </a:solidFill>
                <a:effectLst/>
                <a:uFillTx/>
                <a:latin typeface="Arial"/>
              </a:rPr>
              <a:t>Πατήστε για επεξεργασία της μορφής κειμένου του τίτλου</a:t>
            </a:r>
            <a:endParaRPr b="0" lang="el-GR" sz="30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sp>
        <p:nvSpPr>
          <p:cNvPr id="14" name="PlaceHolder 2"/>
          <p:cNvSpPr>
            <a:spLocks noGrp="1"/>
          </p:cNvSpPr>
          <p:nvPr>
            <p:ph type="ftr" idx="2"/>
          </p:nvPr>
        </p:nvSpPr>
        <p:spPr>
          <a:xfrm>
            <a:off x="810000" y="6377040"/>
            <a:ext cx="10314720" cy="2552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ctr">
            <a:noAutofit/>
          </a:bodyPr>
          <a:lstStyle>
            <a:lvl1pPr indent="0" algn="ctr">
              <a:buNone/>
              <a:defRPr b="0" lang="el-GR" sz="1400" strike="noStrike" u="none">
                <a:solidFill>
                  <a:srgbClr val="000000"/>
                </a:solidFill>
                <a:effectLst/>
                <a:uFillTx/>
                <a:latin typeface="Times New Roman"/>
              </a:defRPr>
            </a:lvl1pPr>
          </a:lstStyle>
          <a:p>
            <a:pPr indent="0" algn="ctr">
              <a:buNone/>
            </a:pPr>
            <a:r>
              <a:rPr b="0" lang="el-GR" sz="1400" strike="noStrike" u="none">
                <a:solidFill>
                  <a:srgbClr val="000000"/>
                </a:solidFill>
                <a:effectLst/>
                <a:uFillTx/>
                <a:latin typeface="Times New Roman"/>
              </a:rPr>
              <a:t>&lt;υποσέλιδο&gt;</a:t>
            </a:r>
            <a:endParaRPr b="0" lang="el-GR" sz="1400" strike="noStrike" u="none">
              <a:solidFill>
                <a:srgbClr val="000000"/>
              </a:solidFill>
              <a:effectLst/>
              <a:uFillTx/>
              <a:latin typeface="Times New Roman"/>
            </a:endParaRPr>
          </a:p>
        </p:txBody>
      </p:sp>
      <p:pic>
        <p:nvPicPr>
          <p:cNvPr id="15" name="Picture 2" descr=""/>
          <p:cNvPicPr/>
          <p:nvPr/>
        </p:nvPicPr>
        <p:blipFill>
          <a:blip r:embed="rId4"/>
          <a:srcRect l="0" t="9697" r="0" b="10045"/>
          <a:stretch/>
        </p:blipFill>
        <p:spPr>
          <a:xfrm>
            <a:off x="9847080" y="12240"/>
            <a:ext cx="1822320" cy="45324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6" name="Picture 2" descr="ΕΟΔΥ: Οδηγίες για παραμονή παιδιών &amp; εφήβων στο σπίτι — Stilida.com"/>
          <p:cNvPicPr/>
          <p:nvPr/>
        </p:nvPicPr>
        <p:blipFill>
          <a:blip r:embed="rId5"/>
          <a:stretch/>
        </p:blipFill>
        <p:spPr>
          <a:xfrm>
            <a:off x="11622960" y="12240"/>
            <a:ext cx="545040" cy="545040"/>
          </a:xfrm>
          <a:prstGeom prst="rect">
            <a:avLst/>
          </a:prstGeom>
          <a:noFill/>
          <a:ln w="0">
            <a:noFill/>
          </a:ln>
        </p:spPr>
      </p:pic>
    </p:spTree>
  </p:cSld>
</p:sldLayout>
</file>

<file path=ppt/slideMasters/_rels/slideMaster1.xml.rels><?xml version="1.0" encoding="UTF-8"?>
<Relationships xmlns="http://schemas.openxmlformats.org/package/2006/relationships"><Relationship Id="rId1" Type="http://schemas.openxmlformats.org/officeDocument/2006/relationships/theme" Target="../theme/theme1.xml"/><Relationship Id="rId2" Type="http://schemas.openxmlformats.org/officeDocument/2006/relationships/slideLayout" Target="../slideLayouts/slideLayout1.xml"/><Relationship Id="rId3" Type="http://schemas.openxmlformats.org/officeDocument/2006/relationships/slideLayout" Target="../slideLayouts/slideLayout2.xml"/><Relationship Id="rId4" Type="http://schemas.openxmlformats.org/officeDocument/2006/relationships/slideLayout" Target="../slideLayouts/slideLayout3.xml"/>
</Relationships>
</file>

<file path=ppt/slideMasters/slideMaster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2"/>
    <p:sldLayoutId id="2147483650" r:id="rId3"/>
    <p:sldLayoutId id="2147483651" r:id="rId4"/>
  </p:sldLayoutIdLst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image" Target="../media/image4.jpeg"/><Relationship Id="rId2" Type="http://schemas.openxmlformats.org/officeDocument/2006/relationships/image" Target="../media/image4.jpeg"/><Relationship Id="rId3" Type="http://schemas.openxmlformats.org/officeDocument/2006/relationships/image" Target="../media/image5.png"/><Relationship Id="rId4" Type="http://schemas.openxmlformats.org/officeDocument/2006/relationships/slideLayout" Target="../slideLayouts/slideLayout1.xml"/><Relationship Id="rId5" Type="http://schemas.openxmlformats.org/officeDocument/2006/relationships/notesSlide" Target="../notesSlides/notesSlide1.xml"/>
</Relationships>
</file>

<file path=ppt/slides/_rels/slide10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1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1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1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1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15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16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17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18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19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20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2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2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2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2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25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26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27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28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29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30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3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3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3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3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35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36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37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38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39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40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4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4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4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4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45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46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47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48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49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5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50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5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5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5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5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55.xml.rels><?xml version="1.0" encoding="UTF-8"?>
<Relationships xmlns="http://schemas.openxmlformats.org/package/2006/relationships"><Relationship Id="rId1" Type="http://schemas.openxmlformats.org/officeDocument/2006/relationships/image" Target="../media/image6.jpeg"/><Relationship Id="rId2" Type="http://schemas.openxmlformats.org/officeDocument/2006/relationships/image" Target="../media/image7.png"/><Relationship Id="rId3" Type="http://schemas.openxmlformats.org/officeDocument/2006/relationships/image" Target="../media/image8.jpeg"/><Relationship Id="rId4" Type="http://schemas.openxmlformats.org/officeDocument/2006/relationships/image" Target="../media/image9.jpeg"/><Relationship Id="rId5" Type="http://schemas.openxmlformats.org/officeDocument/2006/relationships/image" Target="../media/image10.jpeg"/><Relationship Id="rId6" Type="http://schemas.openxmlformats.org/officeDocument/2006/relationships/image" Target="../media/image11.jpeg"/><Relationship Id="rId7" Type="http://schemas.openxmlformats.org/officeDocument/2006/relationships/image" Target="../media/image12.jpeg"/><Relationship Id="rId8" Type="http://schemas.openxmlformats.org/officeDocument/2006/relationships/slideLayout" Target="../slideLayouts/slideLayout3.xml"/>
</Relationships>
</file>

<file path=ppt/slides/_rels/slide6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7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8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_rels/slide9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
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41;g1136d0d7768_0_919"/>
          <p:cNvSpPr/>
          <p:nvPr/>
        </p:nvSpPr>
        <p:spPr>
          <a:xfrm>
            <a:off x="0" y="0"/>
            <a:ext cx="9532080" cy="6857640"/>
          </a:xfrm>
          <a:prstGeom prst="rect">
            <a:avLst/>
          </a:prstGeom>
          <a:solidFill>
            <a:srgbClr val="013476"/>
          </a:solidFill>
          <a:ln w="25400">
            <a:solidFill>
              <a:srgbClr val="364a7d"/>
            </a:solidFill>
            <a:round/>
          </a:ln>
        </p:spPr>
        <p:style>
          <a:lnRef idx="0"/>
          <a:fillRef idx="0"/>
          <a:effectRef idx="0"/>
          <a:fontRef idx="minor"/>
        </p:style>
        <p:txBody>
          <a:bodyPr anchor="ctr">
            <a:noAutofit/>
          </a:bodyPr>
          <a:p>
            <a:pPr algn="ctr">
              <a:lnSpc>
                <a:spcPct val="100000"/>
              </a:lnSpc>
              <a:tabLst>
                <a:tab algn="l" pos="0"/>
              </a:tabLst>
            </a:pPr>
            <a:endParaRPr b="0" lang="el-GR" sz="1200" strike="noStrike" u="none">
              <a:solidFill>
                <a:schemeClr val="lt1"/>
              </a:solidFill>
              <a:effectLst/>
              <a:uFillTx/>
              <a:latin typeface="Arial"/>
              <a:ea typeface="Arial"/>
            </a:endParaRPr>
          </a:p>
        </p:txBody>
      </p:sp>
      <p:pic>
        <p:nvPicPr>
          <p:cNvPr id="24" name="Google Shape;44;g1136d0d7768_0_919" descr="A close up of a logo&#10;&#10;Description automatically generated"/>
          <p:cNvPicPr/>
          <p:nvPr/>
        </p:nvPicPr>
        <p:blipFill>
          <a:blip r:embed="rId1"/>
          <a:srcRect l="69992" t="0" r="0" b="0"/>
          <a:stretch/>
        </p:blipFill>
        <p:spPr>
          <a:xfrm>
            <a:off x="8534520" y="0"/>
            <a:ext cx="3657240" cy="685764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25" name="Google Shape;46;g1136d0d7768_0_919"/>
          <p:cNvSpPr/>
          <p:nvPr/>
        </p:nvSpPr>
        <p:spPr>
          <a:xfrm>
            <a:off x="391320" y="2492280"/>
            <a:ext cx="9532080" cy="2988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t">
            <a:noAutofit/>
          </a:bodyPr>
          <a:p>
            <a:pPr>
              <a:lnSpc>
                <a:spcPct val="100000"/>
              </a:lnSpc>
              <a:tabLst>
                <a:tab algn="l" pos="0"/>
              </a:tabLst>
            </a:pPr>
            <a:r>
              <a:rPr b="1" lang="el-GR" sz="3600" strike="noStrike" u="none">
                <a:solidFill>
                  <a:srgbClr val="ffffff"/>
                </a:solidFill>
                <a:effectLst/>
                <a:uFillTx/>
                <a:latin typeface="72"/>
                <a:ea typeface="Arial"/>
              </a:rPr>
              <a:t>Κινητές Ομάδες </a:t>
            </a:r>
            <a:endParaRPr b="0" lang="el-GR" sz="3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  <a:p>
            <a:pPr>
              <a:lnSpc>
                <a:spcPct val="100000"/>
              </a:lnSpc>
              <a:tabLst>
                <a:tab algn="l" pos="0"/>
              </a:tabLst>
            </a:pPr>
            <a:r>
              <a:rPr b="1" lang="el-GR" sz="3600" strike="noStrike" u="none">
                <a:solidFill>
                  <a:srgbClr val="ffffff"/>
                </a:solidFill>
                <a:effectLst/>
                <a:uFillTx/>
                <a:latin typeface="72"/>
                <a:ea typeface="Arial"/>
              </a:rPr>
              <a:t>Πρωτοβάθμιας Φροντίδας Υγείας</a:t>
            </a:r>
            <a:endParaRPr b="0" lang="el-GR" sz="3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sp>
        <p:nvSpPr>
          <p:cNvPr id="26" name="Google Shape;47;g1136d0d7768_0_919"/>
          <p:cNvSpPr/>
          <p:nvPr/>
        </p:nvSpPr>
        <p:spPr>
          <a:xfrm>
            <a:off x="518400" y="5635080"/>
            <a:ext cx="8780040" cy="605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t">
            <a:noAutofit/>
          </a:bodyPr>
          <a:p>
            <a:pPr>
              <a:lnSpc>
                <a:spcPct val="100000"/>
              </a:lnSpc>
              <a:tabLst>
                <a:tab algn="l" pos="0"/>
              </a:tabLst>
            </a:pPr>
            <a:r>
              <a:rPr b="0" lang="el-GR" sz="1800" strike="noStrike" u="none">
                <a:solidFill>
                  <a:srgbClr val="ffffff"/>
                </a:solidFill>
                <a:effectLst/>
                <a:uFillTx/>
                <a:latin typeface="72 Black"/>
                <a:ea typeface="Arial"/>
              </a:rPr>
              <a:t>Νοέμβριος 2025</a:t>
            </a:r>
            <a:endParaRPr b="0" lang="el-GR" sz="18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sp>
        <p:nvSpPr>
          <p:cNvPr id="27" name="Google Shape;42;g1136d0d7768_0_919"/>
          <p:cNvSpPr/>
          <p:nvPr/>
        </p:nvSpPr>
        <p:spPr>
          <a:xfrm>
            <a:off x="1517040" y="759960"/>
            <a:ext cx="4741560" cy="302040"/>
          </a:xfrm>
          <a:prstGeom prst="snip2DiagRect">
            <a:avLst>
              <a:gd name="adj1" fmla="val 0"/>
              <a:gd name="adj2" fmla="val 16667"/>
            </a:avLst>
          </a:prstGeom>
          <a:solidFill>
            <a:srgbClr val="013476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111240" rIns="111240" tIns="15840" bIns="15840" anchor="ctr">
            <a:noAutofit/>
          </a:bodyPr>
          <a:p>
            <a:pPr>
              <a:lnSpc>
                <a:spcPct val="100000"/>
              </a:lnSpc>
              <a:tabLst>
                <a:tab algn="l" pos="0"/>
              </a:tabLst>
            </a:pPr>
            <a:r>
              <a:rPr b="1" lang="el-GR" sz="2000" strike="noStrike" u="none">
                <a:solidFill>
                  <a:srgbClr val="ffffff"/>
                </a:solidFill>
                <a:effectLst/>
                <a:uFillTx/>
                <a:latin typeface="Calibri"/>
                <a:ea typeface="Calibri"/>
              </a:rPr>
              <a:t>ΕΛΛΗΝΙΚΗ ΔΗΜΟΚΡΑΤΙΑ</a:t>
            </a:r>
            <a:endParaRPr b="0" lang="el-GR" sz="2000" strike="noStrike" u="none">
              <a:solidFill>
                <a:srgbClr val="ffffff"/>
              </a:solidFill>
              <a:effectLst/>
              <a:uFillTx/>
              <a:latin typeface="Arial"/>
            </a:endParaRPr>
          </a:p>
        </p:txBody>
      </p:sp>
      <p:sp>
        <p:nvSpPr>
          <p:cNvPr id="28" name="Google Shape;43;g1136d0d7768_0_919"/>
          <p:cNvSpPr/>
          <p:nvPr/>
        </p:nvSpPr>
        <p:spPr>
          <a:xfrm>
            <a:off x="1517040" y="1107360"/>
            <a:ext cx="4741560" cy="302040"/>
          </a:xfrm>
          <a:prstGeom prst="snip2DiagRect">
            <a:avLst>
              <a:gd name="adj1" fmla="val 0"/>
              <a:gd name="adj2" fmla="val 16667"/>
            </a:avLst>
          </a:prstGeom>
          <a:solidFill>
            <a:srgbClr val="013476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111240" rIns="111240" tIns="15840" bIns="15840" anchor="ctr">
            <a:noAutofit/>
          </a:bodyPr>
          <a:p>
            <a:pPr>
              <a:lnSpc>
                <a:spcPct val="100000"/>
              </a:lnSpc>
              <a:tabLst>
                <a:tab algn="l" pos="0"/>
              </a:tabLst>
            </a:pPr>
            <a:r>
              <a:rPr b="0" lang="el-GR" sz="2000" strike="noStrike" u="none">
                <a:solidFill>
                  <a:srgbClr val="ffffff"/>
                </a:solidFill>
                <a:effectLst/>
                <a:uFillTx/>
                <a:latin typeface="Calibri"/>
                <a:ea typeface="Calibri"/>
              </a:rPr>
              <a:t>Υπουργείο Υγείας</a:t>
            </a:r>
            <a:endParaRPr b="0" lang="el-GR" sz="2000" strike="noStrike" u="none">
              <a:solidFill>
                <a:srgbClr val="ffffff"/>
              </a:solidFill>
              <a:effectLst/>
              <a:uFillTx/>
              <a:latin typeface="Arial"/>
            </a:endParaRPr>
          </a:p>
        </p:txBody>
      </p:sp>
      <p:pic>
        <p:nvPicPr>
          <p:cNvPr id="29" name="Google Shape;45;g1136d0d7768_0_919" descr="A close up of a logo&#10;&#10;Description automatically generated"/>
          <p:cNvPicPr/>
          <p:nvPr/>
        </p:nvPicPr>
        <p:blipFill>
          <a:blip r:embed="rId2"/>
          <a:srcRect l="2029" t="5223" r="87547" b="75694"/>
          <a:stretch/>
        </p:blipFill>
        <p:spPr>
          <a:xfrm>
            <a:off x="247680" y="424080"/>
            <a:ext cx="1269000" cy="130788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0" name="Εικόνα 2" descr="Εικόνα που περιέχει γραφικά, clipart&#10;&#10;Το περιεχόμενο που δημιουργείται από AI ενδέχεται να είναι εσφαλμένο."/>
          <p:cNvPicPr/>
          <p:nvPr/>
        </p:nvPicPr>
        <p:blipFill>
          <a:blip r:embed="rId3"/>
          <a:stretch/>
        </p:blipFill>
        <p:spPr>
          <a:xfrm>
            <a:off x="4609080" y="561240"/>
            <a:ext cx="961200" cy="1107720"/>
          </a:xfrm>
          <a:prstGeom prst="rect">
            <a:avLst/>
          </a:prstGeom>
          <a:solidFill>
            <a:schemeClr val="lt1"/>
          </a:solidFill>
          <a:ln w="0">
            <a:noFill/>
          </a:ln>
        </p:spPr>
      </p:pic>
      <p:sp>
        <p:nvSpPr>
          <p:cNvPr id="31" name="Google Shape;42;g1136d0d7768_0_919"/>
          <p:cNvSpPr/>
          <p:nvPr/>
        </p:nvSpPr>
        <p:spPr>
          <a:xfrm>
            <a:off x="5621400" y="933480"/>
            <a:ext cx="3319200" cy="302040"/>
          </a:xfrm>
          <a:prstGeom prst="snip2DiagRect">
            <a:avLst>
              <a:gd name="adj1" fmla="val 0"/>
              <a:gd name="adj2" fmla="val 16667"/>
            </a:avLst>
          </a:prstGeom>
          <a:solidFill>
            <a:srgbClr val="013476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111240" rIns="111240" tIns="15840" bIns="15840" anchor="ctr">
            <a:noAutofit/>
          </a:bodyPr>
          <a:p>
            <a:pPr>
              <a:lnSpc>
                <a:spcPct val="100000"/>
              </a:lnSpc>
              <a:tabLst>
                <a:tab algn="l" pos="0"/>
              </a:tabLst>
            </a:pPr>
            <a:r>
              <a:rPr b="1" lang="el-GR" sz="2000" strike="noStrike" u="none">
                <a:solidFill>
                  <a:srgbClr val="ffffff"/>
                </a:solidFill>
                <a:effectLst/>
                <a:uFillTx/>
                <a:latin typeface="Calibri"/>
                <a:ea typeface="Calibri"/>
              </a:rPr>
              <a:t>Εθνικός Οργανισμός Δημόσιας Υγείας (ΕΟΔΥ)</a:t>
            </a:r>
            <a:endParaRPr b="0" lang="el-GR" sz="2000" strike="noStrike" u="none">
              <a:solidFill>
                <a:srgbClr val="ffffff"/>
              </a:solidFill>
              <a:effectLst/>
              <a:uFillTx/>
              <a:latin typeface="Arial"/>
            </a:endParaRPr>
          </a:p>
        </p:txBody>
      </p:sp>
    </p:spTree>
  </p:cSld>
  <mc:AlternateContent>
    <mc:Choice Requires="p14">
      <p:transition p14:dur="10"/>
    </mc:Choice>
    <mc:Fallback>
      <p:transition/>
    </mc:Fallback>
  </mc:AlternateContent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56412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51" name="Πίνακας 4"/>
          <p:cNvGraphicFramePr/>
          <p:nvPr/>
        </p:nvGraphicFramePr>
        <p:xfrm>
          <a:off x="1595880" y="998280"/>
          <a:ext cx="8999640" cy="4550040"/>
        </p:xfrm>
        <a:graphic>
          <a:graphicData uri="http://schemas.openxmlformats.org/drawingml/2006/table">
            <a:tbl>
              <a:tblPr/>
              <a:tblGrid>
                <a:gridCol w="2200680"/>
                <a:gridCol w="2680920"/>
                <a:gridCol w="2306520"/>
                <a:gridCol w="1811520"/>
              </a:tblGrid>
              <a:tr h="656640">
                <a:tc>
                  <a:txBody>
                    <a:bodyPr lIns="3960" rIns="3960" tIns="39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12240">
                      <a:solidFill>
                        <a:srgbClr val="000000"/>
                      </a:solidFill>
                      <a:prstDash val="solid"/>
                    </a:lnR>
                    <a:lnT w="12240">
                      <a:solidFill>
                        <a:srgbClr val="000000"/>
                      </a:solidFill>
                      <a:prstDash val="solid"/>
                    </a:lnT>
                    <a:lnB w="1224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35720">
                <a:tc rowSpan="26"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ΕΒΡΟΥ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5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5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12240">
                      <a:solidFill>
                        <a:srgbClr val="000000"/>
                      </a:solidFill>
                      <a:prstDash val="solid"/>
                    </a:lnR>
                    <a:lnT w="12240">
                      <a:solidFill>
                        <a:srgbClr val="000000"/>
                      </a:solidFill>
                      <a:prstDash val="solid"/>
                    </a:lnT>
                    <a:lnB w="1224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ΙΔΥΜΟΤΕΙΧΟΥ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ΣΑΑΚΙΟ,ΔΟΞΑ,ΜΑΝΗ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ΕΞΑΝΔΡΟΥΠΟΛΗ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ΟΥΤΡ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ΥΦΛΙΟΥ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ΦΕΑ/ΛΑΒΑΡ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ΥΦΛΙΟΥ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ΡΝΟΦΩΛΙ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ΙΔΥΜΟΤΕΙΧΟΥ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ΤΑΞΑΔΕΣ,ΑΣΒΕΣΤΑΔΕΣ, ΚΥΑΝΗ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ΕΞΑΝΔΡΟΥΠΟΛΗ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ΒΑΝΤΑ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ΕΣΤΙΑΔΑ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ΙΖΙ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ΥΦΛΙΟΥ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ΥΚΟΦΗ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ΙΔΥΜΟΤΕΙΧΟΥ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ΟΙΜΕΝΙΚΟ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ΕΞΑΝΔΡΟΥΠΟΛΗ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ΟΡΙΣΚΟ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ΕΣΤΙΑΔΑ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ΣΤΑΝΙΕ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ΥΦΛΙΟΥ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ΑΔΙ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ΥΦΛΙΟΥ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ΦΕΑ/ΚΙΣΣΑΡΙΟ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ΕΞΑΝΔΡΟΥΠΟΛΗ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ΙΡΚΗ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ΕΣΤΙΑΔΑ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ΠΤΗ, ΑΜΠΕΛΑΚΙ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ΕΞΑΝΔΡΟΥΠΟΛΗ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ΙΨΑ, ΔΩΡΙΚΟ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ΙΔΥΜΟΤΕΙΧΟΥ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ΓΟΣ/ΘΥΡΕ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ΕΞΑΝΔΡΟΥΠΟΛΗ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ΤΤΕ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ΕΣΤΙΑΔΑ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ΠΤΗ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ΕΞΑΝΔΡΟΥΠΟΛΗ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ΒΙΣΟ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ΕΣΤΙΑΔΑ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ΥΠΡΙΝΟ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ΥΦΛΙΟΥ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ΡΟΒΑΤΩΝΑ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682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ΕΞΑΝΔΡΟΥΠΟΛΗ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ΕΞΑΝΔΡΟΥΠΟΛΗ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-21/11/25,</a:t>
                      </a:r>
                      <a:br>
                        <a:rPr sz="1100"/>
                      </a:b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-28/11/25 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ΙΔΥΜΟΤΕΙΧΟΥ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ΦΙΚΟ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ΕΞΑΝΔΡΟΥΠΟΛΗ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ΔΑΝΙΟ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35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ΕΣΤΙΑΔΑ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ΜΕΝΙΟ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3960" rIns="3960" tIns="3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3960" marR="3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52" name="TextBox 2"/>
          <p:cNvSpPr/>
          <p:nvPr/>
        </p:nvSpPr>
        <p:spPr>
          <a:xfrm>
            <a:off x="115200" y="3460320"/>
            <a:ext cx="3888000" cy="369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"/>
            </a:pPr>
            <a:r>
              <a:rPr b="1" lang="el-GR" sz="1800" strike="noStrike" u="none">
                <a:solidFill>
                  <a:srgbClr val="000000"/>
                </a:solidFill>
                <a:effectLst/>
                <a:uFillTx/>
                <a:latin typeface="Calibri"/>
              </a:rPr>
              <a:t>  4</a:t>
            </a:r>
            <a:r>
              <a:rPr b="1" lang="el-GR" sz="1800" strike="noStrike" u="none" baseline="30000">
                <a:solidFill>
                  <a:srgbClr val="000000"/>
                </a:solidFill>
                <a:effectLst/>
                <a:uFillTx/>
                <a:latin typeface="Calibri"/>
              </a:rPr>
              <a:t>η</a:t>
            </a:r>
            <a:r>
              <a:rPr b="1" lang="el-GR" sz="1800" strike="noStrike" u="none">
                <a:solidFill>
                  <a:srgbClr val="000000"/>
                </a:solidFill>
                <a:effectLst/>
                <a:uFillTx/>
                <a:latin typeface="Calibri"/>
              </a:rPr>
              <a:t> Υ.Πε</a:t>
            </a:r>
            <a:endParaRPr b="0" lang="el-GR" sz="18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58068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54" name="Πίνακας 3"/>
          <p:cNvGraphicFramePr/>
          <p:nvPr/>
        </p:nvGraphicFramePr>
        <p:xfrm>
          <a:off x="1689480" y="1030680"/>
          <a:ext cx="8999640" cy="4975200"/>
        </p:xfrm>
        <a:graphic>
          <a:graphicData uri="http://schemas.openxmlformats.org/drawingml/2006/table">
            <a:tbl>
              <a:tblPr/>
              <a:tblGrid>
                <a:gridCol w="1876320"/>
                <a:gridCol w="2716200"/>
                <a:gridCol w="2829240"/>
                <a:gridCol w="1577520"/>
              </a:tblGrid>
              <a:tr h="874080"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273240">
                <a:tc rowSpan="15"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ΕΒΡΟΥ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(συνέχεια) 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ΣΟΥΦΛ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ΛΑΓΥ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732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ΙΔΥΜΟΤΕΙΧ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ΣΠΡΟΝΕ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732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ΛΕΞΑΝΔΡΟΥΠΟ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ΙΣΥΜ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732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ΙΔΥΜΟΤΕΙΧ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ΕΛΛΗΝ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732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ΛΕΞΑΝΔΡΟΥΠΟ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ΟΝΑΣΤΗΡΑΚ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732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ΙΔΥΜΟΤΕΙΧ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ΧΙΟΝΑΔ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732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ΣΟΥΦΛ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ΘΥΜΑΡ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732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ΙΔΥΜΟΤΕΙΧ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ΕΛΑΦ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732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ΛΕΞΑΝΔΡΟΥΠΟ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ΗΠ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732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ΟΡΕΣΤΙΑΔ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ΡΖ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732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ΛΕΞΑΝΔΡΟΥΠΟ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ΕΜΙΣΤ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732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ΟΡΕΣΤΙΑΔ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ΝΑΔ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732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ΣΟΥΦΛ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ΛΥ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732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ΣΟΥΦΛ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ΟΡΦΕΑ/ΑΜΟΡ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732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ΣΟΥΦΛ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ΦΥΛΑΧΤ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58068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56" name="Πίνακας 3"/>
          <p:cNvGraphicFramePr/>
          <p:nvPr/>
        </p:nvGraphicFramePr>
        <p:xfrm>
          <a:off x="1595880" y="1051560"/>
          <a:ext cx="8999640" cy="4884120"/>
        </p:xfrm>
        <a:graphic>
          <a:graphicData uri="http://schemas.openxmlformats.org/drawingml/2006/table">
            <a:tbl>
              <a:tblPr/>
              <a:tblGrid>
                <a:gridCol w="2199600"/>
                <a:gridCol w="2851560"/>
                <a:gridCol w="2060280"/>
                <a:gridCol w="1887840"/>
              </a:tblGrid>
              <a:tr h="1042920">
                <a:tc>
                  <a:txBody>
                    <a:bodyPr lIns="7920" rIns="7920" tIns="79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41840">
                <a:tc rowSpan="21">
                  <a:txBody>
                    <a:bodyPr lIns="7920" rIns="7920" tIns="79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ΕΡΡΩΝ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ΙΝΤΙΚΗΣ/Δ.Ε. ΠΕΤΡΙΤΣΙΟΥ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ΕΟ ΠΕΤΡΙΤΣΙ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418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ΕΡΡΩΝ/Δ.Ε. ΣΤΟΥΤΑΡΕΩ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ΤΩ ΚΑΜΗΛ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13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ΑΜΦΙΠΟΛΗΣ/Δ.Ε. ΑΜΦΙΠΟΛΗΣ 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ΣΟΛΑΚΚΙ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13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ΗΡΑΚΛΕΙΑΣ /Δ.Ε. ΣΚΟΤΟΥΣΣΑ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ΕΑ ΤΥΡΟΛΟΗ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13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ΝΕΑΣ ΖΙΧΝΗΣ/Δ.Ε. ΝΕΑΣ ΖΙΧΝΗ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ΥΡΟΛΟΦΟ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13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ΕΜ.ΠΑΠΠΑ/Δ.Ε. ΕΜ. ΠΑΠΠ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 ΠΝΕΥΜ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418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ΒΙΣΑΛΤΙΑΣ/Δ.Ε. ΑΧΙΝΟΥ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ΙΤΟΧΩΡΙ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418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ΕΡΡΩΝ/Δ.Ε. ΜΗΤΡΟΥΣΙΟΥ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ΑΓΕΝΝΗΣΗ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418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ΒΙΣΑΛΤΙΑΣ/Δ.Ε. ΒΙΣΑΛΤΙΑ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ΥΓΑΡΙ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13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ΙΝΤΙΚΗΣ/Δ.Ε. ΑΧΛΑΔΟΧΩΡΙΟΥ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ΠΝΟΦΥΤΟ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13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ΑΜΦΙΠΟΛΗΣ/Δ.Ε. ΚΟΡΜΙΣΤΑ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ΛΙΟΚΩΜΗ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77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ΕΡΡΩΝ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ΕΡΡΕ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-21/11/25,</a:t>
                      </a:r>
                      <a:br>
                        <a:rPr sz="1100"/>
                      </a:b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-28/11/25 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13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ΗΡΑΚΛΕΙΑΣ/Δ.Ε. ΣΤΡΥΜΩΝΙΚΟΥ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ΦΑΛΟΧΩΡΙ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13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ΝΕΑΣ ΖΙΧΝΗΣ/Δ.Ε. ΑΛΙΣΤΡΑΤΗ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ΚΟΠΙ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418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ΕΜ.ΠΑΠΠΑ/Δ.Ε. ΣΤΡΥΜΩΝ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ΑΛΤΟΤΟΠΙ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13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ΙΝΤΙΚΗΣ/Δ.Ε. ΠΡΟΜΑΧΩΝΑ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ΡΟΜΑΧΩΝΑ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418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ΕΡΡΩΝ/Δ.Ε. ΟΡΕΙΝΗΣ  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ΕΙΝΗ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418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ΑΜΦΙΠΟΛΗΣ/Δ.Ε. ΠΡΩΤΗ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ΡΗΝΙΔ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418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ΗΡΑΚΛΕΙΑΣ/Δ.Ε. ΗΡΑΚΛΕΙΑΣ 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ΙΜΝΟΧΩΡΙ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418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ΙΝΤΙΚΗΣ/Δ.Ε. ΚΕΡΚΙΝΗΣ 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ΡΚΙΝΗ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418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ΕΡΡΩΝ/Δ.Ε. ΣΕΡΡΩΝ 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ΛΑΙΩΝΑ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920" rIns="7920" tIns="79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920" marR="79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0552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58" name="Πίνακας 3"/>
          <p:cNvGraphicFramePr/>
          <p:nvPr/>
        </p:nvGraphicFramePr>
        <p:xfrm>
          <a:off x="1595880" y="1335240"/>
          <a:ext cx="8999640" cy="4759200"/>
        </p:xfrm>
        <a:graphic>
          <a:graphicData uri="http://schemas.openxmlformats.org/drawingml/2006/table">
            <a:tbl>
              <a:tblPr/>
              <a:tblGrid>
                <a:gridCol w="2203920"/>
                <a:gridCol w="2451960"/>
                <a:gridCol w="2218320"/>
                <a:gridCol w="2125080"/>
              </a:tblGrid>
              <a:tr h="975600"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89000">
                <a:tc rowSpan="20"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ΑΛΚΙΔΙΚΗ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ΑΡΑΘΟΥΣ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ΕΡΟΠΛΑΤΑΝ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ΑΛΑΙΟΧΩ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ΡΙΖ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ΒΑΒΔ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ΡΗΜ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ΑΛΑΤΙΣΤ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ΑΛΑΤΙΣΤ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ΑΛΑΡΙΝ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ΕΤΑΜΟΡΦΩΣ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ΒΑΤΟΠΕΔ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ΨΑΚΟΥΔ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ΟΡΜΥΛ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ΟΡΜΥΛ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ΟΡΜΥΛ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ΟΡΜΥΛ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ΟΡΜΥΛ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ΓΙΟΣ ΠΡΟΔΡΟΜ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ΕΡΑΚΙ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ΛΥΓ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ΤΑΞΙΑΡΧ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2208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60" name="Πίνακας 3"/>
          <p:cNvGraphicFramePr/>
          <p:nvPr/>
        </p:nvGraphicFramePr>
        <p:xfrm>
          <a:off x="1679040" y="1069200"/>
          <a:ext cx="8999640" cy="4679640"/>
        </p:xfrm>
        <a:graphic>
          <a:graphicData uri="http://schemas.openxmlformats.org/drawingml/2006/table">
            <a:tbl>
              <a:tblPr/>
              <a:tblGrid>
                <a:gridCol w="2495520"/>
                <a:gridCol w="2305080"/>
                <a:gridCol w="2643480"/>
                <a:gridCol w="1554840"/>
              </a:tblGrid>
              <a:tr h="995040">
                <a:tc>
                  <a:txBody>
                    <a:bodyPr lIns="8280" rIns="8280" tIns="82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67760">
                <a:tc rowSpan="21">
                  <a:txBody>
                    <a:bodyPr lIns="8280" rIns="8280" tIns="82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ΟΔΟΠΗ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ΩΝΕΙΑΣ/ΣΑ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ΜΑΡΑΝΤ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7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ΩΝΕΙΑΣ/ΣΑ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ΙΡΑ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7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ΩΝΕΙΑΣ/ΣΑ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ΛΑΓ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7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ΩΝΕΙΑΣ/ΣΑ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ΜΦ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7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ΩΝΕΙΑΣ/ΣΑ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ΙΣΒ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7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ΩΝΕΙΑΣ/ΣΑ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ΞΥΛΑΓΑ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7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ΩΝΕΙΑΣ/ΣΑ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ΜΕΡ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7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ΩΝΕΙΑΣ/ΣΑ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ΩΝΕ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7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ΩΝΕΙΑΣ/ΣΑ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ΡΟΣΚΥΝΗΤ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7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ΩΝΕΙΑΣ/ΣΑ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ΡΩΒΥΛ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7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ΩΝΕΙΑΣ/ΣΑ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ΟΦΑΡ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28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ΜΟΤΗ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ΜΟΤΗ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-21/11/25,</a:t>
                      </a:r>
                      <a:br>
                        <a:rPr sz="1200"/>
                      </a:b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-28/11/25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7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ΩΝΕΙΑΣ/ΣΑ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ΑΣ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7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ΩΝΕΙΑΣ/ΣΑ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ΙΖΑ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7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ΩΝΕΙΑΣ/ΣΑ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ΤΡΥΜ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7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ΩΝΕΙΑΣ/ΣΑ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ΡΩΤΑΤ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7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ΑΣ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ΠΠΙΚ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7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ΩΝΕΙΑΣ/ΣΑ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ΣΚΗΤ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7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ΩΝΕΙΑΣ/ΣΑ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ΙΩ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7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ΑΣ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ΑΛΠ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7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ΑΣ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ΩΣΤ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280" rIns="8280" tIns="82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280" marR="82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58068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62" name="Πίνακας 3"/>
          <p:cNvGraphicFramePr/>
          <p:nvPr/>
        </p:nvGraphicFramePr>
        <p:xfrm>
          <a:off x="1595880" y="1243800"/>
          <a:ext cx="8999640" cy="4966920"/>
        </p:xfrm>
        <a:graphic>
          <a:graphicData uri="http://schemas.openxmlformats.org/drawingml/2006/table">
            <a:tbl>
              <a:tblPr/>
              <a:tblGrid>
                <a:gridCol w="1780560"/>
                <a:gridCol w="2872080"/>
                <a:gridCol w="2790720"/>
                <a:gridCol w="1555920"/>
              </a:tblGrid>
              <a:tr h="1183320"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89000">
                <a:tc rowSpan="20"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ΞΑΝΘΗ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ΤΟΠΕΙ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ΒΑΤ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ΑΒΔΗ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ΒΔΗ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ΤΟΠΕΙ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ΛΒ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ΤΟΠΕΙ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ΥΛΑΛ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ΤΟΠΕΙ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 ΝΕΟ ΕΡΑΣΜ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ΤΟΠΕΙ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ΟΞΟΤ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ΑΒΔΗ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ΟΛΥΣΙΤ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ΑΒΔΗ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ΕΝΙΣΕ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ΑΒΔΗ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ΕΛΕ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ΑΒΔΗ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ΟΡΤΟ ΛΑΓ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ΤΟΠΕΙ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ΓΓΑ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ΤΟΠΕΙ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. ΑΘΑΝΑΣΙ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ΤΟΠΕΙ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ΥΡΝ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ΑΒΔΗ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ΕΛΙΝ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ΤΟΠΕΙ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ΛΙΣΣ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ΑΒΔΗ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ΕΑ ΚΕΣΣΑ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ΤΟΠΕΙ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ΛΙΟΠΕΤ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ΑΒΔΗ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ΙΟΜΗΔΕ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ΤΟΠΕΙ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ΚΑΡΧ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ΑΒΔΗ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ΝΔ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55584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64" name="Πίνακας 3"/>
          <p:cNvGraphicFramePr/>
          <p:nvPr/>
        </p:nvGraphicFramePr>
        <p:xfrm>
          <a:off x="1595880" y="1252080"/>
          <a:ext cx="8999640" cy="4640400"/>
        </p:xfrm>
        <a:graphic>
          <a:graphicData uri="http://schemas.openxmlformats.org/drawingml/2006/table">
            <a:tbl>
              <a:tblPr/>
              <a:tblGrid>
                <a:gridCol w="1904040"/>
                <a:gridCol w="2772000"/>
                <a:gridCol w="2687040"/>
                <a:gridCol w="1635840"/>
              </a:tblGrid>
              <a:tr h="925560"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69560">
                <a:tc rowSpan="20"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ΒΑΛ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ΠΑΓΓΑ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ΙΚΗΣΙΑ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9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ΠΑΓΓΑ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ΛΑΙ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9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ΠΑΓΓΑΙΟΥ - Δ.Ε. ΠΙΕΡΕ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ΣΩΡΟΠ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9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ΠΑΓΓΑΙΟΥ - Δ.Ε. ΠΙΕΡΕ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ΛΙΣΣΟΚΟΜΕ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308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ΠΑΓΓΑΙΟΥ - Δ.Ε. ΕΛΕΥΘΕΡΟΥΠΟ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ΛΕΥΘΕΡΟΥΠΟΛ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9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ΠΑΓΓΑΙΟΥ - Δ.Ε. ΟΡΦΑ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ΟΔΟΧΩΡΙ - ΚΟΚΚΙΝ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9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ΠΑΓΓΑΙΟΥ - Δ.Ε. ΟΡΦΑ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ΚΡΟΠΟΤΑΜ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9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ΠΑΓΓΑΙΟΥ - Δ.Ε. ΕΛΕΥΘΕ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ΩΛ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9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ΠΑΓΓΑΙΟΥ - Δ.Ε. ΕΛΕΥΘΕ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ΥΡΤΟΦΥΤ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308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ΠΑΓΓΑΙΟΥ - Δ.Ε. ΕΛΕΥΘΕΡΟΥΠΟ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ΞΟΧΗ - ΑΜΙΣΙΑ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9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ΝΕΣΤ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ΚΑ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9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ΝΕΣΤ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ΧΡΟΚΑΜΠ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9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ΚΑΒΑΛ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ΒΑΛ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9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ΚΑΒΑΛ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ΕΑ ΚΑΡΒΑΛ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9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ΝΕΣΤ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ΚΟΠΟΣ - ΚΕΧΡΟΚΑΜΠ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9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ΝΕΣΤ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ΤΕΓΝΟ - ΛΕΚΑ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9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ΝΕΣΤ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ΛΑΦ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9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ΝΕΣΤ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ΚΡΥ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9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ΝΕΣΤ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Ρ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9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ΝΕΣΤ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ΡΥΣΟΥΠΟΛ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58896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66" name="Πίνακας 3"/>
          <p:cNvGraphicFramePr/>
          <p:nvPr/>
        </p:nvGraphicFramePr>
        <p:xfrm>
          <a:off x="1595880" y="1568520"/>
          <a:ext cx="8999640" cy="4600080"/>
        </p:xfrm>
        <a:graphic>
          <a:graphicData uri="http://schemas.openxmlformats.org/drawingml/2006/table">
            <a:tbl>
              <a:tblPr/>
              <a:tblGrid>
                <a:gridCol w="1747800"/>
                <a:gridCol w="2844720"/>
                <a:gridCol w="2829240"/>
                <a:gridCol w="1577520"/>
              </a:tblGrid>
              <a:tr h="1000080"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99800">
                <a:tc rowSpan="18"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ΡΑΜ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12240">
                      <a:noFill/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ΠΡΟΣΟΤΣΑ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ΙΚΡΟΠΟΛ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9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ΠΡΟΣΟΤΣΑ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ΛΛΙΘΕ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9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ΠΡΟΣΟΤΣΑ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ΥΡΓ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9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ΠΡΟΣΟΤΣΑ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ΕΡΙΧΩ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9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ΔΟΞΑΤ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ΥΡ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9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ΔΟΞΑΤ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ΕΦΑΛΑ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9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ΔΟΞΑΤ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ΛΑΜΠΑΚ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9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ΔΟΞΑΤ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ΓΙΑ ΠΑΡΑΣΚΕΥ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9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ΠΑΡΑΝΕΣΤ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ΡΑΣΙΝΑΔ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9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ΠΑΡΑΝΕΣΤ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ΑΡΑΝΕΣΤ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9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ΠΑΡΑΝΕΣΤ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ΛΑΤΑΝ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9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ΠΑΡΑΝΕΣΤ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ΛΑΤΑΝΟΒΡΥΣ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9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ΠΑΡΑΝΕΣΤ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ΤΕΛΕ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9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ΠΑΡΑΝΕΣΤ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ΝΔΡΙΑ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9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ΠΑΡΑΝΕΣΤ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ΥΨΗΛΗ ΡΑΧ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9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ΠΑΡΑΝΕΣΤ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ΝΙΚΗΦΟΡ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9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ΠΑΡΑΝΕΣΤ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ΑΛΙΑΜΠΕΛ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9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ΠΑΡΑΝΕΣΤ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ΧΑΜΟΚΕΡΑΣ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4728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68" name="Πίνακας 3"/>
          <p:cNvGraphicFramePr/>
          <p:nvPr/>
        </p:nvGraphicFramePr>
        <p:xfrm>
          <a:off x="1595880" y="1418400"/>
          <a:ext cx="8999640" cy="4800600"/>
        </p:xfrm>
        <a:graphic>
          <a:graphicData uri="http://schemas.openxmlformats.org/drawingml/2006/table">
            <a:tbl>
              <a:tblPr/>
              <a:tblGrid>
                <a:gridCol w="1832400"/>
                <a:gridCol w="2803320"/>
                <a:gridCol w="2801520"/>
                <a:gridCol w="1562040"/>
              </a:tblGrid>
              <a:tr h="1017000"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89000">
                <a:tc rowSpan="20"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ΙΛΚΙ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ΙΛΚΙΣ/Δ.Ε ΚΡΟΥΣΣΩΝ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ΠΤΑΛΟΦΟ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ΙΛΚΙΣ/Δ.Ε ΚΡΟΥΣΣΩΝ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ΤΕΡΠΥΛΛΟ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4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ΙΛΚΙΣ/Δ.Ε ΚΡΟΥΣΣΩΝ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Γ.ΑΝΤΩΝΙΟ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5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ΙΛΚΙΣ/Δ.Ε ΚΡΟΥΣΣΩΝ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ΝΤΟΚΕΡΑΣΙ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6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ΙΛΚΙΣ/Δ.Ε ΚΡΟΥΣΣΩΝ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ΕΛΛΗΝΙΚΟ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7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ΙΛΚΙΣ/Δ.Ε ΚΡΟΥΣΣΩΝ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ΕΝΤΡΙΚΟ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0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ΙΛΚΙΣ/Δ.Ε ΚΡΟΥΣΣΩΝ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ΒΑΘΗ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1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ΙΛΚΙΣ/Δ.Ε ΚΡΟΥΣΣΩΝ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ΦΥΣΚ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2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ΙΛΚΙΣ/Δ.Ε ΚΡΟΥΣΣΩΝ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. ΘΕΩΔΟΡΑΚΙ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3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ΙΛΚΙΣ/Δ.Ε ΚΡΟΥΣΣΩΝ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ΕΡΑΚΑΡΙΟ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4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ΑΙΟΝΙΑΣ/ Δ.Ε ΑΞΙΟΥΠΟΛΗ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ΟΓΑΝΗ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7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ΑΙΟΝΙΑΣ/ Δ.Ε ΠΟΛΥΚΑΣΤΡΟΥ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ΞΙΟΧΩΡΙ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8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ΑΙΟΝΙΑΣ/ Δ.Ε ΑΞΙΟΥΠΟΛΗ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ΦΑΝΟ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9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ΑΙΟΝΙΑΣ/ Δ.Ε ΑΞΙΟΥΠΟΛΗ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ΧΑΜΗΛΟ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0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ΑΙΟΝΙΑΣ/ Δ.Ε ΑΞΙΟΥΠΟΛΗ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ΕΥΖΩΝΟΙ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1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ΑΙΟΝΙΑΣ/ Δ.Ε ΠΟΛΥΚΑΣΤΡΟΥ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ΟΡΩΝ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4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ΑΙΟΝΙΑΣ/ Δ.Ε ΑΞΙΟΥΠΟΛΗ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ΝΤΟΗΡΑΚΛΕΙΑ 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5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ΑΙΟΝΙΑΣ/ Δ.Ε ΑΞΙΟΥΠΟΛΗ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ΛΑΓΙΑ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6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ΑΙΟΝΙΑΣ/ Δ.Ε ΑΞΙΟΥΠΟΛΗ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ΕΙΔΩΜΕΝΗ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7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ΑΙΟΝΙΑΣ/ Δ.Ε ΕΥΡΩΠΟ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ΕΥΡΩΠΟΣ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8/11/2025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3900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70" name="Πίνακας 3"/>
          <p:cNvGraphicFramePr/>
          <p:nvPr/>
        </p:nvGraphicFramePr>
        <p:xfrm>
          <a:off x="1595880" y="1296720"/>
          <a:ext cx="8999640" cy="4329360"/>
        </p:xfrm>
        <a:graphic>
          <a:graphicData uri="http://schemas.openxmlformats.org/drawingml/2006/table">
            <a:tbl>
              <a:tblPr/>
              <a:tblGrid>
                <a:gridCol w="2275200"/>
                <a:gridCol w="2606400"/>
                <a:gridCol w="2705760"/>
                <a:gridCol w="1411560"/>
              </a:tblGrid>
              <a:tr h="943560"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60920">
                <a:tc rowSpan="20"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ΡΙΣ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ΡΥΤΣ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ΛΑΣΣΟ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ΡΥ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ΙΛΕΛΕΡ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ΕΟ ΠΕΡΙΒΟΛΙ (Ιατρείο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ΡΙΣ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ΙΛΑΔ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ΕΜ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ΟΧΩΡΙ(ΧΕΙΜΑΔΙ ΝΕΣΣΩΝΟ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ΙΛΕΛΕΡ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ΑΠΕ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ΑΡΣΑΛ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ΡΕΤΡ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ΚΛΗΘ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ΛΑΣΣΟ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ΥΘΙΟ / 1 Ω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ΥΡΝΑΒ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ΛΕΡ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ΕΜ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ΙΓΑΝΗ (ΚΑΤΩ ΑΙΓΑΝΗ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146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ΡΙΣ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ΡΙΣ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-21/11/25,</a:t>
                      </a:r>
                      <a:br>
                        <a:rPr sz="1200"/>
                      </a:b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-28/11/25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ΥΡΝΑΒ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ΝΔ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ΑΡΣΑΛ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Σ ΚΩΝΣΤΑΝΤΙΝ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ΛΑΦ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ΛΑΣΣΟ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ΛΙΘΕΑ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ΙΛΕΛΕΡ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ύναινα (Ιατρείο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ΑΡΣΑΛ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ΥΠΕΡΕ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ΕΜ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ΜΠΕΛΑΚ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ΥΡΝΑΒ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ΛΑΤΑΝΟΥΛ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71" name="TextBox 2"/>
          <p:cNvSpPr/>
          <p:nvPr/>
        </p:nvSpPr>
        <p:spPr>
          <a:xfrm>
            <a:off x="115200" y="3591720"/>
            <a:ext cx="3888000" cy="369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"/>
            </a:pPr>
            <a:r>
              <a:rPr b="1" lang="el-GR" sz="1800" strike="noStrike" u="none">
                <a:solidFill>
                  <a:srgbClr val="000000"/>
                </a:solidFill>
                <a:effectLst/>
                <a:uFillTx/>
                <a:latin typeface="Calibri"/>
              </a:rPr>
              <a:t>  5</a:t>
            </a:r>
            <a:r>
              <a:rPr b="1" lang="el-GR" sz="1800" strike="noStrike" u="none" baseline="30000">
                <a:solidFill>
                  <a:srgbClr val="000000"/>
                </a:solidFill>
                <a:effectLst/>
                <a:uFillTx/>
                <a:latin typeface="Calibri"/>
              </a:rPr>
              <a:t>η</a:t>
            </a:r>
            <a:r>
              <a:rPr b="1" lang="el-GR" sz="1800" strike="noStrike" u="none">
                <a:solidFill>
                  <a:srgbClr val="000000"/>
                </a:solidFill>
                <a:effectLst/>
                <a:uFillTx/>
                <a:latin typeface="Calibri"/>
              </a:rPr>
              <a:t> Υ.Πε</a:t>
            </a:r>
            <a:endParaRPr b="0" lang="el-GR" sz="18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85500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 </a:t>
            </a:r>
            <a:br>
              <a:rPr sz="2000"/>
            </a:b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33" name="Πίνακας 3"/>
          <p:cNvGraphicFramePr/>
          <p:nvPr/>
        </p:nvGraphicFramePr>
        <p:xfrm>
          <a:off x="1595880" y="1167840"/>
          <a:ext cx="8999640" cy="4522320"/>
        </p:xfrm>
        <a:graphic>
          <a:graphicData uri="http://schemas.openxmlformats.org/drawingml/2006/table">
            <a:tbl>
              <a:tblPr/>
              <a:tblGrid>
                <a:gridCol w="1978200"/>
                <a:gridCol w="1983240"/>
                <a:gridCol w="2740680"/>
                <a:gridCol w="2297160"/>
              </a:tblGrid>
              <a:tr h="1182240">
                <a:tc>
                  <a:txBody>
                    <a:bodyPr lIns="11880" rIns="11880" tIns="118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303480">
                <a:tc rowSpan="11">
                  <a:txBody>
                    <a:bodyPr lIns="11880" rIns="11880" tIns="118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ΟΖΑΝΗ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ΖΑ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ΝΟ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3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ΖΑ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ΙΑ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3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ΖΑ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ΤΕΛΕ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3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ΖΑ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ΤΡΑ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3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ΟΡΔΑ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ΛΑΣΤ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3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Ϊ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ΝΤΑΛΟΦ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3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ΖΑ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ΟΛΥΜΥΛ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3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ΟΡΔΑ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ΡΜΑΚΕ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3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ΕΡΒ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ΙΒΑΔΕ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3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ΟΡΔΑ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ΥΡΓ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3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ΖΑ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. ΔΗΜΗΤΡΙ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1880" rIns="11880" tIns="118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1880" marR="118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4" name="TextBox 2"/>
          <p:cNvSpPr/>
          <p:nvPr/>
        </p:nvSpPr>
        <p:spPr>
          <a:xfrm>
            <a:off x="170640" y="3429000"/>
            <a:ext cx="3888000" cy="369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"/>
            </a:pPr>
            <a:r>
              <a:rPr b="1" lang="el-GR" sz="1800" strike="noStrike" u="none">
                <a:solidFill>
                  <a:srgbClr val="000000"/>
                </a:solidFill>
                <a:effectLst/>
                <a:uFillTx/>
                <a:latin typeface="Calibri"/>
              </a:rPr>
              <a:t>3</a:t>
            </a:r>
            <a:r>
              <a:rPr b="1" lang="el-GR" sz="1800" strike="noStrike" u="none" baseline="30000">
                <a:solidFill>
                  <a:srgbClr val="000000"/>
                </a:solidFill>
                <a:effectLst/>
                <a:uFillTx/>
                <a:latin typeface="Calibri"/>
              </a:rPr>
              <a:t>η</a:t>
            </a:r>
            <a:r>
              <a:rPr b="1" lang="el-GR" sz="1800" strike="noStrike" u="none">
                <a:solidFill>
                  <a:srgbClr val="000000"/>
                </a:solidFill>
                <a:effectLst/>
                <a:uFillTx/>
                <a:latin typeface="Calibri"/>
              </a:rPr>
              <a:t>  Υ.Πε</a:t>
            </a:r>
            <a:endParaRPr b="0" lang="el-GR" sz="18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1380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73" name="Πίνακας 3"/>
          <p:cNvGraphicFramePr/>
          <p:nvPr/>
        </p:nvGraphicFramePr>
        <p:xfrm>
          <a:off x="1595880" y="1393200"/>
          <a:ext cx="8999640" cy="4447800"/>
        </p:xfrm>
        <a:graphic>
          <a:graphicData uri="http://schemas.openxmlformats.org/drawingml/2006/table">
            <a:tbl>
              <a:tblPr/>
              <a:tblGrid>
                <a:gridCol w="2010960"/>
                <a:gridCol w="2440080"/>
                <a:gridCol w="2520360"/>
                <a:gridCol w="2027880"/>
              </a:tblGrid>
              <a:tr h="925560"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76040">
                <a:tc rowSpan="20"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ΡΔΙΤΣ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ΓΙΘΕ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ΘΗ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ΦΑΔ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ΕΝΤΙ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ΛΑΣΤΗ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ΡΑΣ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ΡΔΙΤΣ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ΡΟΠΛΕΣ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ΛΑΜ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ΑΘΕ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ΟΥΖΑΚ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ΡΑΚΟΤΡΥΠ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ΦΑΔ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ΘΡΑΨΙΜ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ΓΙΘΕ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ΓΥ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ΛΑΣΤΗ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ΜΠΕ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ΡΔΙΤΣ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ΣΤΑΝ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ΛΑΜ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ΥΚ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ΟΥΖΑΚ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ΞΥ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ΦΑΔ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ΟΥΤΡΟΠΗΓ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ΓΙΘΕ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ΡΑΓΓΙΑ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ΡΔΙΤΣ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ΑΦΝΟΣΠΗΛ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ΛΑΣΤΗ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ΥΛΑΚΤ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ΦΑΔ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ΤΙΜΕ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ΓΙΘΕ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ΤΑΦΥΛ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ΟΥΖΑΚ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ΛΛΗΝΟΠΥΡΓ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ΡΔΙΤΣ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ΤΑΦΥΓ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3900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75" name="Πίνακας 3"/>
          <p:cNvGraphicFramePr/>
          <p:nvPr/>
        </p:nvGraphicFramePr>
        <p:xfrm>
          <a:off x="1444320" y="1235520"/>
          <a:ext cx="9303120" cy="4989600"/>
        </p:xfrm>
        <a:graphic>
          <a:graphicData uri="http://schemas.openxmlformats.org/drawingml/2006/table">
            <a:tbl>
              <a:tblPr/>
              <a:tblGrid>
                <a:gridCol w="1807200"/>
                <a:gridCol w="2523960"/>
                <a:gridCol w="3332880"/>
                <a:gridCol w="1638360"/>
              </a:tblGrid>
              <a:tr h="1158480"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91520">
                <a:tc rowSpan="20"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ΡΙΚΑΛΩΝ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ΕΤΕΩ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 ΑΓΝΑΝΤΙΑ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ΤΡΙΚΑΛ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ΕΓΑΡΧΗ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Υ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ΣΤΟΥΡΝΑΡΕΙΚ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Υ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ΙΑΛΕΙΑ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ΦΑΡΚΑΔΩ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ΝΟΜ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ΕΤΕΩ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ΟΞΥΝΕ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 ΤΡΙΚΑΛ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ΛΟΝΕ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ΤΡΙΚΑΛ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 ΜΙΚΡΟ ΚΕΦΑΛΟΒΡΥΣ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ΤΡΙΚΑΛ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ΕΓΑΛΟ ΚΕΦΑΛΟΒΡΥΣΟ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ΕΤΕΩ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ΛΕΙΝΟΒΟΣ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Υ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 ΑΓΙΟΣ ΒΗΣΣΑΡΙΩ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ΤΡΙΚΑΛ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ΕΓΑΛΟΧΩΡΙ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Υ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ΕΛΕΥΘΕΡ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ΕΤΕΩ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ΞΗΡΟΚΑΜΠΟΣ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Υ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ΟΥΡ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ΦΑΡΚΑΔΩ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ΤΑΞΙΑΡΧ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ΤΡΙΚΑΛ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 ΠΑΛΑΙΟΠΥΡΓ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ΦΑΡΚΑΔΩ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ΕΤΡΟΠΟ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ΤΡΙΚΑΛ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ΡΙΝΟΣ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ΕΤΕΩ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ΦΛΑΜΠΟΥΡΕΣ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6384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77" name="Πίνακας 3"/>
          <p:cNvGraphicFramePr/>
          <p:nvPr/>
        </p:nvGraphicFramePr>
        <p:xfrm>
          <a:off x="1595880" y="1160280"/>
          <a:ext cx="8999640" cy="4708440"/>
        </p:xfrm>
        <a:graphic>
          <a:graphicData uri="http://schemas.openxmlformats.org/drawingml/2006/table">
            <a:tbl>
              <a:tblPr/>
              <a:tblGrid>
                <a:gridCol w="1971000"/>
                <a:gridCol w="2743560"/>
                <a:gridCol w="2827080"/>
                <a:gridCol w="1458000"/>
              </a:tblGrid>
              <a:tr h="1050840"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243720">
                <a:tc rowSpan="15"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ΓΝΗΣΙ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ΑΓΟΡΑΣ- ΜΟΥΡΕΣ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ΗΛ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43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Λ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ΙΚΡΟΘΗΒ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43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Λ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ΗΔΙΝ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43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ΟΤΙΟΥ ΠΗΛ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Α ΝΕ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43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ΑΓΟΡΑΣ- ΜΟΥΡΕΣ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Σ ΔΗΜΗΤΡΙ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43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ΟΤΙΟΥ ΠΗΛ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ΥΚ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43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Λ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ΡΑΚΕ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43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ΑΓΟΡΑΣ- ΜΟΥΡΕΣ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ΟΥΡΕΣ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43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ΗΓΑ ΦΕΡΑ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ΚΚΙΝΑ - ΠΕΡΙΒΛΕΠΤ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43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ΑΓΟΡΑΣ- ΜΟΥΡΕΣ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ΞΟΥΡΥΧΤ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43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Λ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Σ ΛΕΥΡΕΝΤΙ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43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ΗΓΑ ΦΕΡΑ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Σ ΔΗΜΗΤΡΙΟΣ- ΕΛΕΥΘΕΡ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43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ΑΓΟΡΑΣ- ΜΟΥΡΕΣ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ΚΡΥΡΡΑΧ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43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Λ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Σ ΒΛΑΣΙ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43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ΗΓΑ ΦΕΡΑ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ΝΑΛ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3036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79" name="Πίνακας 3"/>
          <p:cNvGraphicFramePr/>
          <p:nvPr/>
        </p:nvGraphicFramePr>
        <p:xfrm>
          <a:off x="2006280" y="1670760"/>
          <a:ext cx="8179560" cy="4156920"/>
        </p:xfrm>
        <a:graphic>
          <a:graphicData uri="http://schemas.openxmlformats.org/drawingml/2006/table">
            <a:tbl>
              <a:tblPr/>
              <a:tblGrid>
                <a:gridCol w="1671480"/>
                <a:gridCol w="2452320"/>
                <a:gridCol w="1902600"/>
                <a:gridCol w="2152800"/>
              </a:tblGrid>
              <a:tr h="983880"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396360">
                <a:tc rowSpan="8"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ΥΒΟΙ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ΕΡΕΤΡ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ΥΜΝ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96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ΑΝΤΟΥΔΙΟΥ-ΛΙΜΝΗΣ ΑΓΙΑΣ ΑΝ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ΣΤΡΟΦΥΛ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96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ΙΡΦΥΩΝ ΜΕΣΣΑΠΙΩΝ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ΣΤΕ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96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ΙΡΦΥΩΝ ΜΕΣΣΑΠ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ΛΥΦΑΔΑ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96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ΕΡΕΤΡ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ΕΡΕΤΡ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96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ΑΝΤΟΥΔΙΟΥ-ΛΙΜΝΗΣ ΑΓΙΑΣ ΑΝ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ΓΙΑ ΑΝ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96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ΕΡΕΤΡ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ΝΩ ΒΑΘΕ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96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ΙΡΦΥΩΝ ΜΕΣΣΑΠ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ΜΑΡΙΤΣ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8040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81" name="Πίνακας 3"/>
          <p:cNvGraphicFramePr/>
          <p:nvPr/>
        </p:nvGraphicFramePr>
        <p:xfrm>
          <a:off x="1537920" y="1421640"/>
          <a:ext cx="9115920" cy="4692960"/>
        </p:xfrm>
        <a:graphic>
          <a:graphicData uri="http://schemas.openxmlformats.org/drawingml/2006/table">
            <a:tbl>
              <a:tblPr/>
              <a:tblGrid>
                <a:gridCol w="1618560"/>
                <a:gridCol w="2621520"/>
                <a:gridCol w="2963880"/>
                <a:gridCol w="1911960"/>
              </a:tblGrid>
              <a:tr h="889200"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90080">
                <a:tc rowSpan="20"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ΘΙΩΤΙΔ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ΤΥΛΙΔ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ΛΥΦ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ΜΦΙΚΛΕΙΑΣ-ΕΛΑΤ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ΠΡΑΛ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ΟΚ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ΚΙΤΣ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ΟΜΟΚ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Ε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ΜΕΝΩΝ ΒΟΥΡΛ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ΝΔΕΝΙΤΣ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ΚΡΑΚΩΜ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ΣΟΥΚ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ΟΚ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ΡΑΓΑ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ΜΙΕ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ΥΚ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ΤΥΛΙΔ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ΥΛ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ΜΦΙΚΛΕΙΑΣ-ΕΛΑΤ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ΕΛ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ΟΚ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ΞΑΡΧ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ΟΜΟΚ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ΚΚΑ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ΜΕΝΩΝ ΒΟΥΡΛ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ΑΒ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ΚΡΑΚΩΜ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Σ ΓΕΩΡΓΙ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ΜΙΕ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ΣΤΑΝ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ΤΥΛΙΔ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ΛΑΙΟΚΕΡΑΣ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ΜΦΙΚΛΕΙΑΣ-ΕΛΑΤ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ΛΑΙ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ΟΚΡ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ΑΠΟΔ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ΟΜΟΚ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ΜΒΡΙΑΚ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ΜΕΝΩΝ ΒΟΥΡΛ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ΕΓΓΙΝ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7212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83" name="Πίνακας 3"/>
          <p:cNvGraphicFramePr/>
          <p:nvPr/>
        </p:nvGraphicFramePr>
        <p:xfrm>
          <a:off x="1595880" y="1698120"/>
          <a:ext cx="8999640" cy="4319640"/>
        </p:xfrm>
        <a:graphic>
          <a:graphicData uri="http://schemas.openxmlformats.org/drawingml/2006/table">
            <a:tbl>
              <a:tblPr/>
              <a:tblGrid>
                <a:gridCol w="1576080"/>
                <a:gridCol w="2547720"/>
                <a:gridCol w="3411720"/>
                <a:gridCol w="1463760"/>
              </a:tblGrid>
              <a:tr h="712800"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225360">
                <a:tc rowSpan="16"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ΥΡΥΤΑΝΙ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ΡΠΕΝΗΣ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ΓΙΟΣ ΝΙΚΟΛΑ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5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ΤΑΜ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ΕΓΑΛΟ ΧΩΡ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5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ΡΠΕΝΗΣ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ΣΤΕΝΩΜ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5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ΦΟΥΡ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ΦΟΥΡ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5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ΟΜΝΙΣΤ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ΟΜΝΙΣΤ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5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ΦΡΑΓΚΙΣΤ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ΝΑΤΟΛΙΚΗ ΦΡΑΓΚΙΣΤ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25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ΟΤΑΜ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ΛΑΥΣΙ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25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ΟΜΝΙΣΤ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ΣΤΑΒΛ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25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ΤΗΜΕΝ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ΟΜΙΑΝ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25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ΒΙΝΙΑ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ΑΦ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25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ΤΗΜΕΝ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ΟΜΙΑΝ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25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ΦΟΥΡ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ΛΕΙΤΣ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25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ΤΗΜΕΝ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ΓΙΑ ΤΡΙΑΔ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25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ΡΟΥΣ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ΡΟΥΣ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25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ΦΡΑΓΚΙΣΤ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ΑΛΑΙΟΚΑΤΟΥ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25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ΓΡΑΦ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ΤΡΟΒΑΤ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0552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85" name="Πίνακας 3"/>
          <p:cNvGraphicFramePr/>
          <p:nvPr/>
        </p:nvGraphicFramePr>
        <p:xfrm>
          <a:off x="1595880" y="1426680"/>
          <a:ext cx="8999640" cy="4532400"/>
        </p:xfrm>
        <a:graphic>
          <a:graphicData uri="http://schemas.openxmlformats.org/drawingml/2006/table">
            <a:tbl>
              <a:tblPr/>
              <a:tblGrid>
                <a:gridCol w="1673640"/>
                <a:gridCol w="2837520"/>
                <a:gridCol w="2324160"/>
                <a:gridCol w="2163960"/>
              </a:tblGrid>
              <a:tr h="701280"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91520">
                <a:tc rowSpan="20"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ΙΩΤΙ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ΒΑΔΕ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Σ ΓΕΩΡΓΙ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ΘΗΒΑ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ΟΜΒΡΑΙ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ΧΟΜΕ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ΚΡΑΙΦΝ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ΒΑΔΕ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Θ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ΙΑΡΤΟΥ-ΘΕΣΠΙΕ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ΟΝΤΑ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ΧΟΜΕ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ΟΥΛ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ΒΑΔΕ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ΥΡΙΑΚ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ΑΝΑΓ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ΑΦ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ΘΗΒΑ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ΑΓ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ΙΣΤΟΜΟΥ-ΑΡΑΧΩΒ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ΑΧΩΒ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ΑΝΑΓ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ΚΟΥΡΤ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ΒΑΔΕ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ΑΥΛΕ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ΘΗΒΑ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ΘΙΣΒ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ΧΟΜΕ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ΣΤ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ΙΑΡΤΟΥ-ΘΕΣΠΙΕ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ΣΚΡ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ΒΑΔΕ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ΡΟ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ΧΟΜΕ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ΚΚΙΝ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ΙΑΡΤΟΥ-ΘΕΣΠΙΕ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ΥΡΟΜΑΤ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ΑΝΑΓ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ΣΩΠ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ΘΗΒΑ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ΠΑΡΕΛ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4728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87" name="Πίνακας 3"/>
          <p:cNvGraphicFramePr/>
          <p:nvPr/>
        </p:nvGraphicFramePr>
        <p:xfrm>
          <a:off x="1587600" y="1116720"/>
          <a:ext cx="8999640" cy="4342680"/>
        </p:xfrm>
        <a:graphic>
          <a:graphicData uri="http://schemas.openxmlformats.org/drawingml/2006/table">
            <a:tbl>
              <a:tblPr/>
              <a:tblGrid>
                <a:gridCol w="1928520"/>
                <a:gridCol w="3539520"/>
                <a:gridCol w="2009520"/>
                <a:gridCol w="1521360"/>
              </a:tblGrid>
              <a:tr h="677160">
                <a:tc>
                  <a:txBody>
                    <a:bodyPr lIns="4680" rIns="4680" tIns="46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162720">
                <a:tc rowSpan="21">
                  <a:txBody>
                    <a:bodyPr lIns="4680" rIns="4680" tIns="46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ΩΑΝΝΙΝΩΝ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ΡΕΙΩΝ ΤΖΟΥΜΕΡΚ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ΤΣΟΥΚ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3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1558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ΑΓΟΡ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ΜΑΤ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217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ΩΔΩ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ΟΥΣΙΩΤΙΤΣ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5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162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ΩΓΩΝ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ΣΤΑΝΙΑ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6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1558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ΝΙΤΣ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ΙΕΦΑΛ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1558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ΙΤΣ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ΙΓΟΨ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1558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ΤΣΟΒ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ΓΑΛΟ ΠΕΡΙΣΤΕ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1558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ΑΓΟΡ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ΣΕΠΕΛΟΒ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217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ΡΕΙΩΝ ΤΖΟΥΜΕΡΚ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ΟΥΛΙΑΡΑΔ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162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ΩΑΝΝΙ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ΑΦΝΟΥΛ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1558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ΙΤΣ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ΙΤΣ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307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ΩΑΝΝΙ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ΩΑΝΝΙ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-21.11.25,</a:t>
                      </a:r>
                      <a:br>
                        <a:rPr sz="1200"/>
                      </a:b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-28.11.25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1558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ΩΔΩ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ΕΝΙΚ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1558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ΩΓΩΝ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ΥΚΛΙ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165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ΝΙΤΣ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Α ΠΑΡΑΣΚΕΥ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1558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ΩΑΝΝΙ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ΝΩΛΙΑΣΣ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1558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ΤΣΟΒ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ΗΛΕ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1558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ΩΓΩΝ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ΦΑΛΟΒΡΥΣ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1558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ΙΤΣ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ΤΩ ΖΑΛΟΓΓ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1558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ΑΓΟΡ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ΙΣΤ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  <a:tr h="217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ΡΕΙΩΝ ΤΖΟΥΜΕΡΚ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ΛΑΤΑΝΟΥΣ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lt1"/>
                    </a:solidFill>
                  </a:tcPr>
                </a:tc>
              </a:tr>
            </a:tbl>
          </a:graphicData>
        </a:graphic>
      </p:graphicFrame>
      <p:sp>
        <p:nvSpPr>
          <p:cNvPr id="88" name="TextBox 2"/>
          <p:cNvSpPr/>
          <p:nvPr/>
        </p:nvSpPr>
        <p:spPr>
          <a:xfrm>
            <a:off x="170640" y="3561840"/>
            <a:ext cx="3888000" cy="369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"/>
            </a:pPr>
            <a:r>
              <a:rPr b="1" lang="el-GR" sz="1800" strike="noStrike" u="none">
                <a:solidFill>
                  <a:srgbClr val="000000"/>
                </a:solidFill>
                <a:effectLst/>
                <a:uFillTx/>
                <a:latin typeface="Calibri"/>
              </a:rPr>
              <a:t>6</a:t>
            </a:r>
            <a:r>
              <a:rPr b="1" lang="el-GR" sz="1800" strike="noStrike" u="none" baseline="30000">
                <a:solidFill>
                  <a:srgbClr val="000000"/>
                </a:solidFill>
                <a:effectLst/>
                <a:uFillTx/>
                <a:latin typeface="Calibri"/>
              </a:rPr>
              <a:t>η</a:t>
            </a:r>
            <a:r>
              <a:rPr b="1" lang="el-GR" sz="1800" strike="noStrike" u="none">
                <a:solidFill>
                  <a:srgbClr val="000000"/>
                </a:solidFill>
                <a:effectLst/>
                <a:uFillTx/>
                <a:latin typeface="Calibri"/>
              </a:rPr>
              <a:t>  Υ.Πε</a:t>
            </a:r>
            <a:endParaRPr b="0" lang="el-GR" sz="18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1380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90" name="Πίνακας 3"/>
          <p:cNvGraphicFramePr/>
          <p:nvPr/>
        </p:nvGraphicFramePr>
        <p:xfrm>
          <a:off x="1595880" y="1083240"/>
          <a:ext cx="8999640" cy="4497120"/>
        </p:xfrm>
        <a:graphic>
          <a:graphicData uri="http://schemas.openxmlformats.org/drawingml/2006/table">
            <a:tbl>
              <a:tblPr/>
              <a:tblGrid>
                <a:gridCol w="2183400"/>
                <a:gridCol w="3521160"/>
                <a:gridCol w="2161440"/>
                <a:gridCol w="1133280"/>
              </a:tblGrid>
              <a:tr h="853560">
                <a:tc>
                  <a:txBody>
                    <a:bodyPr lIns="6120" rIns="6120" tIns="61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225000">
                <a:tc rowSpan="20">
                  <a:txBody>
                    <a:bodyPr lIns="6120" rIns="6120" tIns="61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ΡΚΥΡ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ΝΤΡΙΚΗΣ ΚΕΡΚΥΡΑΣ &amp; ΔΙΑΠΟΝΤΙΩΝ ΝΗΣ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ΛΕΚ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3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8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ΟΤΙΑΣ ΚΕΡΚΥ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Ω ΠΑΥΛΙΑ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8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ΡΕΙΑΣ ΚΕΡΚΥ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ΙΝΙ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5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5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ΝΤΡΙΚΗΣ ΚΕΡΚΥΡΑΣ &amp; ΔΙΑΠΟΝΤΙΩΝ ΝΗΣ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Ω ΓΑΡΟΥ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6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8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ΟΤΙΑΣ ΚΕΡΚΥ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ΑΣΙΛΑΤΙΚ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8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ΡΕΙΑΣ ΚΕΡΚΥ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ΤΑΛΕ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5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ΝΤΡΙΚΗΣ ΚΕΡΚΥΡΑΣ &amp; ΔΙΑΠΟΝΤΙΩΝ ΝΗΣ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ΤΑΥΡ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8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ΟΤΙΑΣ ΚΕΡΚΥ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ΛΩΜ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8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ΡΕΙΑΣ ΚΕΡΚΥ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ΡΟΥΣΑΔ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5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ΝΤΡΙΚΗΣ ΚΕΡΚΥΡΑΣ &amp; ΔΙΑΠΟΝΤΙΩΝ ΝΗΣ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ΙΝΑΡΑΔ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8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ΟΤΙΑΣ ΚΕΡΚΥ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ΤΡΙΤ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8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ΡΕΙΑΣ ΚΕΡΚΥ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ΛΗΜΑΤ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5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ΝΤΡΙΚΗΣ ΚΕΡΚΥΡΑΣ &amp; ΔΙΑΠΟΝΤΙΩΝ ΝΗΣ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ΠΑΡΤΥΛ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8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ΟΤΙΑΣ ΚΕΡΚΥ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ΆΓΙΟΣ ΜΑΤΘΑΙ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8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ΡΕΙΑΣ ΚΕΡΚΥ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ΦΑΚΕ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5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ΝΤΡΙΚΗΣ ΚΕΡΚΥΡΑΣ &amp; ΔΙΑΠΟΝΤΙΩΝ ΝΗΣ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ΜΑ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8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ΟΤΙΑΣ ΚΕΡΚΥ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ΡΑΓΚΑΝΙΩΤΙΚ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8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ΡΕΙΑΣ ΚΕΡΚΥ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ΣΣΙΟΠ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50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ΝΤΡΙΚΗΣ ΚΕΡΚΥΡΑΣ &amp; ΔΙΑΠΟΝΤΙΩΝ ΝΗΣ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ΥΓ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8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ΟΤΙΑΣ ΚΕΡΚΥ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ΟΡΑΙΤΙΚ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3900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92" name="Πίνακας 3"/>
          <p:cNvGraphicFramePr/>
          <p:nvPr/>
        </p:nvGraphicFramePr>
        <p:xfrm>
          <a:off x="1595880" y="1443240"/>
          <a:ext cx="8999640" cy="4529160"/>
        </p:xfrm>
        <a:graphic>
          <a:graphicData uri="http://schemas.openxmlformats.org/drawingml/2006/table">
            <a:tbl>
              <a:tblPr/>
              <a:tblGrid>
                <a:gridCol w="2161080"/>
                <a:gridCol w="2792880"/>
                <a:gridCol w="2518560"/>
                <a:gridCol w="1526760"/>
              </a:tblGrid>
              <a:tr h="776160"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291960">
                <a:tc rowSpan="13"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ΘΕΣΠΡΩΤΙ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ΙΛΙΑΤ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ΑΓΙΑΔ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3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91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ΥΛ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ΜΠΕΛ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5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91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ΙΛΙΑΤ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ΣΤΡΙ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91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ΥΛ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ΕΟΧΩΡΙ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8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ΙΛΙΑΤ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ΣΠΡΟΚΚΛΗΣ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91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ΥΛ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ΡΒΟΥΝΑ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8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ΙΛΙΑΤ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ΚΚΙΝ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91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ΥΛΙΟΥ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ΡΟΔΡΟΜ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8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ΙΛΙΑΤ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ΡΑΜΙΤΣ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91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ΥΛ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ΚΑΝΔΑΛ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8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ΙΛΙΑΤ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ΠΤΟΚΑΡΥ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8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ΙΛΙΑΤ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ΑΒΕ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91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ΥΛ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ΣΑΓΓΑ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laceHolder 1"/>
          <p:cNvSpPr>
            <a:spLocks noGrp="1"/>
          </p:cNvSpPr>
          <p:nvPr>
            <p:ph type="title"/>
          </p:nvPr>
        </p:nvSpPr>
        <p:spPr>
          <a:xfrm>
            <a:off x="311040" y="100800"/>
            <a:ext cx="11341800" cy="68868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36" name="Πίνακας 3"/>
          <p:cNvGraphicFramePr/>
          <p:nvPr/>
        </p:nvGraphicFramePr>
        <p:xfrm>
          <a:off x="1595880" y="1096200"/>
          <a:ext cx="8999640" cy="5005440"/>
        </p:xfrm>
        <a:graphic>
          <a:graphicData uri="http://schemas.openxmlformats.org/drawingml/2006/table">
            <a:tbl>
              <a:tblPr/>
              <a:tblGrid>
                <a:gridCol w="2081520"/>
                <a:gridCol w="2185200"/>
                <a:gridCol w="2785320"/>
                <a:gridCol w="1947600"/>
              </a:tblGrid>
              <a:tr h="1172880">
                <a:tc>
                  <a:txBody>
                    <a:bodyPr lIns="6480" rIns="6480" tIns="64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91520">
                <a:tc rowSpan="20">
                  <a:txBody>
                    <a:bodyPr lIns="6480" rIns="6480" tIns="64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ΡΕΒΕΝΩΝ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ΡΕΒΕ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ΣΑΜΑΡΙ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ΡΕΒΕ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ΦΙΛΙΠΠΑΙΟΙ - ΑΕΤ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ΡΕΒΕ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ΡΑΝΙΑ ΙΑΤΡΕ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ΡΕΒΕ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ΓΙΟΣ ΓΕΩΡΓΙ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ΡΕΒΕ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ΒΔΕΛΛ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ΕΣΚΑΤ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ΤΡΙΦΥΛΛΙ - ΤΡΙΚΟΚ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ΡΕΒΕ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ΗΠΟΥΡ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ΡΕΒΕ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ΟΤΣΙΚ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ΡΕΒΕ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ΕΡΙΒΟΛ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ΡΕΒΕ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ΕΝΤΡΟ - ΝΗΣΙ - ΑΓΑΛΑΙ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ΡΕΒΕ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ΣΠΗΛΑ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ΡΕΒΕ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ΟΝΑΧΙΤ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ΡΕΒΕ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ΝΙΔΗ - ΙΤΕ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ΡΕΒΕ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ΙΣΤΙΚΟ - ΠΟΡ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ΡΕΒΕ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ΖΙΑΚ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ΡΕΒΕ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ΙΒΩΤ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ΡΕΒΕ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ΛΗΜΑΤΑΚ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ΡΕΒΕ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ΕΓΑ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ΡΕΒΕ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ΡΟΣΒΟ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1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ΡΕΒΕ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ΦΕΛΛ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59724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94" name="Πίνακας 3"/>
          <p:cNvGraphicFramePr/>
          <p:nvPr/>
        </p:nvGraphicFramePr>
        <p:xfrm>
          <a:off x="1595880" y="1384920"/>
          <a:ext cx="8999640" cy="4319640"/>
        </p:xfrm>
        <a:graphic>
          <a:graphicData uri="http://schemas.openxmlformats.org/drawingml/2006/table">
            <a:tbl>
              <a:tblPr/>
              <a:tblGrid>
                <a:gridCol w="2269080"/>
                <a:gridCol w="2709720"/>
                <a:gridCol w="2286000"/>
                <a:gridCol w="1734480"/>
              </a:tblGrid>
              <a:tr h="857520">
                <a:tc>
                  <a:txBody>
                    <a:bodyPr lIns="5400" rIns="5400" tIns="54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72800">
                <a:tc rowSpan="20">
                  <a:txBody>
                    <a:bodyPr lIns="5400" rIns="5400" tIns="54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ΑΚΥΝΘΟΥ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ΤΕΜΙΣ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Σ ΛΕΟΝΤ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3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ΛΑΤ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Ω ΒΟΛΙΜ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ΛΑΤ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ΑΦΩΝΗΤΡ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5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ΥΚ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ΤΑΣΤΑ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6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ΚΑΔ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Σ ΚΗΡΥΚ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ΛΑΤ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Ι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ΥΚ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ΣΟ ΓΕΡΑΚΑ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ΤΕΜΙΣ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ΓΚΑΔΑΚ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ΤΕΜΙΣ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ΟΜΙ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ΛΑΤ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ΞΩ ΧΩ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ΓΑ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ΙΘΑΚ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ΚΑΔ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ΡΑΓΑΚ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ΤΕΜΙΣ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ΙΟΛΙΤ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ΓΑ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ΥΚ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ΚΟΥΛΙΚΑΔ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ΑΚΥΝΘ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ΑΣΙΛΙΚ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ΑΚΥΝΘ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ΓΑΣ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ΓΑ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ΑΜΑΚ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ΓΑ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ΑΛ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ΤΕΜΙΣ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ΟΥΧ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400" rIns="5400" tIns="54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400" marR="54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6384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96" name="Πίνακας 3"/>
          <p:cNvGraphicFramePr/>
          <p:nvPr/>
        </p:nvGraphicFramePr>
        <p:xfrm>
          <a:off x="1612800" y="1521000"/>
          <a:ext cx="8999640" cy="4464000"/>
        </p:xfrm>
        <a:graphic>
          <a:graphicData uri="http://schemas.openxmlformats.org/drawingml/2006/table">
            <a:tbl>
              <a:tblPr/>
              <a:tblGrid>
                <a:gridCol w="2194560"/>
                <a:gridCol w="3050640"/>
                <a:gridCol w="2077920"/>
                <a:gridCol w="1676160"/>
              </a:tblGrid>
              <a:tr h="921240"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624960">
                <a:tc rowSpan="6"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ΥΚΑΔ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ΛΕΥΚΑΔ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Υ ΝΙΚΗΤ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624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ΛΕΥΚΑΔ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ΑΜΙΤΣ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624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ΕΛΛΟΜΕ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ΛΥΧ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624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ΕΛΛΟΜΕ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ΥΔΡ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624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ΚΑΡΥ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ΡΥ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416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ΚΑΡΥ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ΖΑΡΑΤ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4728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98" name="Πίνακας 3"/>
          <p:cNvGraphicFramePr/>
          <p:nvPr/>
        </p:nvGraphicFramePr>
        <p:xfrm>
          <a:off x="1595880" y="1207440"/>
          <a:ext cx="8999640" cy="4534560"/>
        </p:xfrm>
        <a:graphic>
          <a:graphicData uri="http://schemas.openxmlformats.org/drawingml/2006/table">
            <a:tbl>
              <a:tblPr/>
              <a:tblGrid>
                <a:gridCol w="2294280"/>
                <a:gridCol w="2942640"/>
                <a:gridCol w="2194560"/>
                <a:gridCol w="1568160"/>
              </a:tblGrid>
              <a:tr h="895680"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350640">
                <a:tc rowSpan="12"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ΡΕΒΕΖ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ΖΗ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ΘΕΣΠΡΩΤΙΚ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3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506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ΘΕΣΠΡΩΤΙΚ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Ω ΣΚΑΦΙΔΩΤΉ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5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8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ΠΡΕΒΕΖ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ΈΟ ΣΦΗΝΩΤ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506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ΘΕΣΠΡΩΤΙΚ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ΡΑΣΟΥΝΤ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8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ΠΡΕΒΕΖ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ΡΙΚΑΣΤ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506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ΠΑΡΓ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ΘΕΜΕΛ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506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ΘΕΣΠΡΩΤΙΚ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ΙΖΟΒΟΥΝ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8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ΠΡΕΒΕΖ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ΕΑ ΣΑΜΣΟΥΝΤ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506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ΠΑΡΓ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ΟΥΤΣ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506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ΠΑΡΓ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ΚΕΠΑΣΤ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506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ΠΡΕΒΕΖ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ΕΙΜΑΔ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8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ΖΗ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ΝΑΓ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9696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00" name="Πίνακας 3"/>
          <p:cNvGraphicFramePr/>
          <p:nvPr/>
        </p:nvGraphicFramePr>
        <p:xfrm>
          <a:off x="1595880" y="1269000"/>
          <a:ext cx="8999640" cy="3809880"/>
        </p:xfrm>
        <a:graphic>
          <a:graphicData uri="http://schemas.openxmlformats.org/drawingml/2006/table">
            <a:tbl>
              <a:tblPr/>
              <a:tblGrid>
                <a:gridCol w="2566080"/>
                <a:gridCol w="2792880"/>
                <a:gridCol w="2094480"/>
                <a:gridCol w="1545840"/>
              </a:tblGrid>
              <a:tr h="1125000"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842040">
                <a:tc rowSpan="4"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ΦΑΛΛΗΝΙ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ΕΛΕΙΟΥ - ΠΡΟΝ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ΣΤ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5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500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ΛΗΞΟΥΡ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ΑΜΟΥΛΙΑΝΑΤ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842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ΕΛΕΙΟΥ - ΠΡΟΝ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ΚΟΙΝΟΤΗΤΑ ΠΥΡΓ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500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ΠΟ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ΟΡ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3900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02" name="Πίνακας 3"/>
          <p:cNvGraphicFramePr/>
          <p:nvPr/>
        </p:nvGraphicFramePr>
        <p:xfrm>
          <a:off x="1595880" y="1261080"/>
          <a:ext cx="8999640" cy="4711680"/>
        </p:xfrm>
        <a:graphic>
          <a:graphicData uri="http://schemas.openxmlformats.org/drawingml/2006/table">
            <a:tbl>
              <a:tblPr/>
              <a:tblGrid>
                <a:gridCol w="2103120"/>
                <a:gridCol w="2900880"/>
                <a:gridCol w="2660040"/>
                <a:gridCol w="1335600"/>
              </a:tblGrid>
              <a:tr h="916920"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314640">
                <a:tc rowSpan="12"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Τ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ΘΑΜΑΝ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ΕΤΡΑΚΩΜ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3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751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ΞΗΡΟΒΟΥΝ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ΟΔΑΥΓ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5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99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ΛΙΣΣΟΥΡΓ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ΛΙΣΣΟΥΡΓ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0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168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ΑΧΘ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ΜΜΕΝ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434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ΕΤΡΑΦΥΛ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ΗΓ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38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ΘΑΜΑΝ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ΕΜΟΡΡΑΧ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146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ΛΑΧΕΡ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ΡΦΟΒΟΥΝ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146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ΜΒΡΑΚΙΚ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ΙΓΛ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146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Τ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ΚΙΝΙΑΔ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146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ΡΑΚΛ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ΕΤΣΙΑ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146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ΜΠΟΤ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ΩΤΕΙΝ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67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ΝΑΝΤ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ΡΑΙΚΙΚ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5556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04" name="Πίνακας 3"/>
          <p:cNvGraphicFramePr/>
          <p:nvPr/>
        </p:nvGraphicFramePr>
        <p:xfrm>
          <a:off x="1595880" y="1269000"/>
          <a:ext cx="8999640" cy="4319640"/>
        </p:xfrm>
        <a:graphic>
          <a:graphicData uri="http://schemas.openxmlformats.org/drawingml/2006/table">
            <a:tbl>
              <a:tblPr/>
              <a:tblGrid>
                <a:gridCol w="2286000"/>
                <a:gridCol w="2934360"/>
                <a:gridCol w="2319120"/>
                <a:gridCol w="1460160"/>
              </a:tblGrid>
              <a:tr h="800640">
                <a:tc>
                  <a:txBody>
                    <a:bodyPr lIns="6480" rIns="6480" tIns="64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85040">
                <a:tc rowSpan="19">
                  <a:txBody>
                    <a:bodyPr lIns="6480" rIns="6480" tIns="64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ΡΙΝΙΟΥ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.Ε. ΑΛΥΖ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ΧΟΝΤ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5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ΡΑΚΑΜΠΥΛ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. ΒΛΑΣΙ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5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ΝΑΧ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ΛΑΙΟΚΑΡΥ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5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ΡΑΚΑΜΠΥΛ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Ω ΚΕΡΑΣΟΒ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5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ΡΑΚΑΜΠΥΛ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ΟΤΑΜΟΥΛ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5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ΘΕΡ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ΝΙΣΚ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5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ΡΑΚΑΜΠΥΛ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ΑΡΓΙΑΔ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5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ΝΑΧ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ΡΑΜΜΑΤΙΚ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5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ΥΤΕ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ΑΣΙΛΟΠΟΥΛ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5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ΔΕΩΝ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ΘΥΡΡΕ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5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ΘΕΡ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ΡΥΜΩ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5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ΡΑΚΑΜΠΥΛ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ΧΘ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5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ΡΑΚΑΜΠΥΛ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ΑΡΕΤΑΔ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5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ΘΕΡ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ΓΥΡΟ ΠΗΓΑΔ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5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ΝΑΧ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ΙΑΝΝΟΠΟΥΛ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5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ΝΑΧ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ΡΔΙΚΑΚ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5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ΡΑΚΑΜΠΥΛ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ΛΙΘΕ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5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ΡΑΚΑΜΠΥΛ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ΙΤΟΜΕ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5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ΔΕΩΝ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ΟΝΑΣΤΗΡΑΚ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9696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06" name="Πίνακας 3"/>
          <p:cNvGraphicFramePr/>
          <p:nvPr/>
        </p:nvGraphicFramePr>
        <p:xfrm>
          <a:off x="1595880" y="1225800"/>
          <a:ext cx="8999640" cy="4319640"/>
        </p:xfrm>
        <a:graphic>
          <a:graphicData uri="http://schemas.openxmlformats.org/drawingml/2006/table">
            <a:tbl>
              <a:tblPr/>
              <a:tblGrid>
                <a:gridCol w="2626560"/>
                <a:gridCol w="2601720"/>
                <a:gridCol w="2185920"/>
                <a:gridCol w="1584720"/>
              </a:tblGrid>
              <a:tr h="797400">
                <a:tc>
                  <a:txBody>
                    <a:bodyPr lIns="6120" rIns="6120" tIns="61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73520">
                <a:tc rowSpan="19">
                  <a:txBody>
                    <a:bodyPr lIns="6120" rIns="6120" tIns="61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ΙΤΩΛΟΑΚΑΡΝΑΝΙ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ΝΙΑΔ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ΝΤΑΛΟΦ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5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ΝΙΑΔ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ΤΑΜ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47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ΝΙΑΔ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ΤΟΧ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5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ΝΙΑΔ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Ε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3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ΝΙΑΔ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ΟΥΡ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3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ΝΙΑΔ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ΣΤ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5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ΝΙΑΔ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ΣΙΝ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3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.Π. ΜΕΣΟΛΟΓΓ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ΥΗΝ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3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.Π. ΜΕΣΟΛΟΓΓ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Σ ΘΩΜ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5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ΑΛΚ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ΑΛΑΤ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3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ΑΛΚ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ΡΙΚΟΡΦ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3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ΑΛΚ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ΑΒΡΟΛΙΜ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3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ΤΙΡΡ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ΤΙΡΡ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5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ΑΛΚ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ΡΙΘ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606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ΑΛΚ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ΑΒΡΟΥΖ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3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ΑΥΠΑΚΤ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ΚΑΛ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3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ΑΥΠΑΚΤ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ΑΦ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3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ΤΙΡΡ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ΟΛΥΚΡΕ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3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ΑΥΠΑΚΤ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ΥΓ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120" rIns="6120" tIns="61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.11.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120" marR="61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PlaceHolder 1"/>
          <p:cNvSpPr>
            <a:spLocks noGrp="1"/>
          </p:cNvSpPr>
          <p:nvPr>
            <p:ph type="title"/>
          </p:nvPr>
        </p:nvSpPr>
        <p:spPr>
          <a:xfrm>
            <a:off x="286200" y="266760"/>
            <a:ext cx="11341800" cy="64728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08" name="Πίνακας 3"/>
          <p:cNvGraphicFramePr/>
          <p:nvPr/>
        </p:nvGraphicFramePr>
        <p:xfrm>
          <a:off x="1670760" y="1003680"/>
          <a:ext cx="9093960" cy="4671720"/>
        </p:xfrm>
        <a:graphic>
          <a:graphicData uri="http://schemas.openxmlformats.org/drawingml/2006/table">
            <a:tbl>
              <a:tblPr/>
              <a:tblGrid>
                <a:gridCol w="2242800"/>
                <a:gridCol w="2736360"/>
                <a:gridCol w="2460240"/>
                <a:gridCol w="1654200"/>
              </a:tblGrid>
              <a:tr h="957960">
                <a:tc>
                  <a:txBody>
                    <a:bodyPr lIns="4680" rIns="4680" tIns="46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47240">
                <a:tc rowSpan="21">
                  <a:txBody>
                    <a:bodyPr lIns="4680" rIns="4680" tIns="46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ΚΑΔΙ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ΓΑΛΟΠΟ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ΛΛΗΝΙΚΟ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472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ΟΤΙΑΣ ΚΥΝΟΥΡ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ΥΡΟΣ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472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ΡΙΠΟ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ΑΡΑ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91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ΟΡΤΥΝ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ΝΤΟΒΑΖΑΙΝΑ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ΡΕΙΑΣ ΚΥΝΟΥΡ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Σ ΑΝΔΡΕΑΣ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ΡΙΠΟ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ΛΛΙΝΕΣ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ΟΤΙΑΣ ΚΥΝΟΥΡ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ΣΜΑΣ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ΓΑΛΟΠΟ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ΟΝΤΑΡΙ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ΡΙΠΟ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ΤΕΜΙΣΙΟ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ΟΡΤΥΝ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ΜΕΝΙΤΣΑ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ΡΙΠΟ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ΕΣΤΑ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740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ΡΙΠΟ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ΡΙΠΟΛ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-21/11/25,</a:t>
                      </a:r>
                      <a:br>
                        <a:rPr sz="1200"/>
                      </a:b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-28/11/25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ΡΕΙΑΣ ΚΥΝΟΥΡ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ΣΤΑΝΙΤΣ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ΓΑΛΟΠΟ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ΣΑΡ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ΡΙΠΟ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ΣΕΛΕΠΑΚ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ΡΙΠΟ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ΛΑΧΟΚΕΡΑΣΙΑ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ΟΤΙΑΣ ΚΥΝΟΥΡ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ΟΥΛΙΘ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ΡΕΙΑΣ ΚΥΝΟΥΡ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ΣΤ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ΟΡΤΥΝ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ΓΚΑΔ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ΓΑΛΟΠΟ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ΡΑΔΕΙΣ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60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ΟΡΤΥΝ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ΑΛΤΕΣΙΝΙΚ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4680" rIns="4680" tIns="4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4680" marR="4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58068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10" name="Πίνακας 3"/>
          <p:cNvGraphicFramePr/>
          <p:nvPr/>
        </p:nvGraphicFramePr>
        <p:xfrm>
          <a:off x="1595880" y="1060200"/>
          <a:ext cx="8999640" cy="4879080"/>
        </p:xfrm>
        <a:graphic>
          <a:graphicData uri="http://schemas.openxmlformats.org/drawingml/2006/table">
            <a:tbl>
              <a:tblPr/>
              <a:tblGrid>
                <a:gridCol w="2274840"/>
                <a:gridCol w="3429720"/>
                <a:gridCol w="2161440"/>
                <a:gridCol w="1133280"/>
              </a:tblGrid>
              <a:tr h="959760">
                <a:tc>
                  <a:txBody>
                    <a:bodyPr lIns="6840" rIns="6840" tIns="68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230400">
                <a:tc rowSpan="17">
                  <a:txBody>
                    <a:bodyPr lIns="6840" rIns="6840" tIns="68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ΓΟΛΙΔ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ΓΟΥΣ-ΜΥΚΗ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ΡΟΣΥΜ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30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ΑΥΠΛΙΕ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ΥΦ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30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ΠΙΔΑ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ΕΑ ΕΠΙΔΑΥΡ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30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ΡΜΙΟΝΙΔ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ΡΜΙΟ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30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ΓΟΥΣ-ΜΥΚΗ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ΙΜΝ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30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ΓΟΥΣ-ΜΥΚΗ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ΧΛΑΔΟΚΑΜΠ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30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ΑΥΠΛΙΕ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ΑΧΝΑ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30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ΑΥΠΛΙΕ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Ρ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30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ΓΟΥΣ-ΜΥΚΗ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ΛΟΥΚ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30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ΓΟΥΣ-ΜΥΚΗ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Ε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30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ΠΙΔΑ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Σ ΔΗΜΗΤΡΙ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30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ΡΜΙΟΝΙΔ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ΙΔΥΜ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30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ΓΟΥΣ-ΜΥΚΗ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ΙΒΕ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30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ΠΙΔΑΥ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ΔΑΜ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30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ΑΥΠΛΙΕ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ΙΔΕ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30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ΡΜΙΟΝΙΔ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ΟΥΡΝ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30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ΓΟΥΣ-ΜΥΚΗ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ΛΑΝΔΡΕΝ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840" rIns="6840" tIns="68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840" marR="68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50580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12" name="Πίνακας 3"/>
          <p:cNvGraphicFramePr/>
          <p:nvPr/>
        </p:nvGraphicFramePr>
        <p:xfrm>
          <a:off x="1595880" y="869040"/>
          <a:ext cx="8999640" cy="4517640"/>
        </p:xfrm>
        <a:graphic>
          <a:graphicData uri="http://schemas.openxmlformats.org/drawingml/2006/table">
            <a:tbl>
              <a:tblPr/>
              <a:tblGrid>
                <a:gridCol w="2526840"/>
                <a:gridCol w="2643120"/>
                <a:gridCol w="2185920"/>
                <a:gridCol w="1643040"/>
              </a:tblGrid>
              <a:tr h="961200">
                <a:tc>
                  <a:txBody>
                    <a:bodyPr lIns="5040" rIns="5040" tIns="50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57320">
                <a:tc rowSpan="21">
                  <a:txBody>
                    <a:bodyPr lIns="5040" rIns="5040" tIns="50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ΧΑΪΑΣ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 ΛΑΡΙΣΣ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ΕΛΙΤΣ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7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 ΛΑΡΙΣΣ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ΙΧΟΪ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0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7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 ΛΑΡΙΣΣ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ΣΑΜΑΙΪΚ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7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 ΛΑΡΙΣΣ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ΙΟΣ ΝΙΚΟΛΑΟΣ ΣΠΑΤ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7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 ΛΑΡΙΣΣ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ΙΟΛ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7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 ΛΑΡΙΣΣ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ΠΙΔΕΩ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7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 ΛΑΡΙΣΣ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ΓΚΑΔΙ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7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 ΛΑΡΙΣΣ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ΤΑΡΑΓΚ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7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 ΛΑΡΙΣΣ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Τ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7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 ΛΑΡΙΣΣ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ΤΟΧ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 ΛΑΡΙΣΣ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ΠΠ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 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106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ΤΡΕ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Τ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-21/11/25,</a:t>
                      </a:r>
                      <a:br>
                        <a:rPr sz="1200"/>
                      </a:b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-28/11/25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 ΛΑΡΙΣΣ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ΑΞ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 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7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 ΔΕ  ΠΑΪΩΝ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ΑΦΝΗ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7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 ΔΕ  ΠΑΪΩΝ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ΑΦΝΗ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7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 ΔΕ  ΠΑΪΩΝ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1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7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 ΔΕ  ΠΑΪΩΝ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1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7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 ΑΡΟΑΝ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ΕΙΡΕΣ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7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 ΑΡΟΑΝ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ΧΟΥ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7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 ΑΡΟΑΝ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ΡΙΠΟΤΑΜ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57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 ΑΡΟΑΝ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ΙΒΑΡΤΖ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5040" rIns="5040" tIns="50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040" marR="50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83484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38" name="Πίνακας 3"/>
          <p:cNvGraphicFramePr/>
          <p:nvPr/>
        </p:nvGraphicFramePr>
        <p:xfrm>
          <a:off x="1454760" y="1509840"/>
          <a:ext cx="9282240" cy="4592160"/>
        </p:xfrm>
        <a:graphic>
          <a:graphicData uri="http://schemas.openxmlformats.org/drawingml/2006/table">
            <a:tbl>
              <a:tblPr/>
              <a:tblGrid>
                <a:gridCol w="1820160"/>
                <a:gridCol w="2886840"/>
                <a:gridCol w="2756160"/>
                <a:gridCol w="1818360"/>
              </a:tblGrid>
              <a:tr h="1100160">
                <a:tc>
                  <a:txBody>
                    <a:bodyPr lIns="10800" rIns="10800" tIns="108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268560">
                <a:tc rowSpan="13">
                  <a:txBody>
                    <a:bodyPr lIns="10800" rIns="10800" tIns="108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ΣΤΟΡΙ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ΣΤΟΡ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ΧΙΛΙΟΔΕΝΔ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68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ΣΤΟΡ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ΟΛΟΚΥΝΘ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68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ΣΤΟΡ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ΑΥΡ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68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ΣΤΟΡ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ΟΡΗΣ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68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ΡΓΟΥΣ ΟΡΕΣΤΙΚ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ΩΣΤΑΡΑΖ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68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ΡΓΟΥΣ ΟΡΕΣΤΙΚ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ΓΕΡΜ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68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ΝΕΣΤΟΡ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ΝΕΣΤΟΡ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68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ΝΕΣΤΟΡ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ΙΠΟΤΑΜ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68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ΝΕΣΤΟΡ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ΡΑΝ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68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ΝΕΣΤΟΡ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ΕΠΤΑ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68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ΣΤΟΡ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ΕΝΤΑΒΡΥΣ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68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ΣΤΟΡ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ΓΙΑ ΚΥΡΙΑΚ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68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ΣΤΟΡ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ΕΤΑΜΟΡΦΩΣ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57240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14" name="Πίνακας 3"/>
          <p:cNvGraphicFramePr/>
          <p:nvPr/>
        </p:nvGraphicFramePr>
        <p:xfrm>
          <a:off x="1687320" y="1001880"/>
          <a:ext cx="8714160" cy="4853880"/>
        </p:xfrm>
        <a:graphic>
          <a:graphicData uri="http://schemas.openxmlformats.org/drawingml/2006/table">
            <a:tbl>
              <a:tblPr/>
              <a:tblGrid>
                <a:gridCol w="2025720"/>
                <a:gridCol w="2607480"/>
                <a:gridCol w="2108160"/>
                <a:gridCol w="1972440"/>
              </a:tblGrid>
              <a:tr h="981720">
                <a:tc>
                  <a:txBody>
                    <a:bodyPr lIns="5760" rIns="5760" tIns="57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93320">
                <a:tc rowSpan="20">
                  <a:txBody>
                    <a:bodyPr lIns="5760" rIns="5760" tIns="57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ΛΕΙ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ΜΠ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ΜΠΕ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ΜΠ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ΣΤ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ΜΠ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ΕΙ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ΣΙΩΝ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Α ΚΥΡΙΑΚΗ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ΣΙΩΝ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Α ΤΡΙΑΔ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ΣΙΩΝ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ΤΡΩΝΙ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ΣΙΩΝ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ΚΟΤΑ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ΣΙΩΝ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ΣΙΠΙΑ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ΧΑΙΑΣ ΟΛΥΜΠ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ΣΠΡΑ ΣΠΙΤ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ΧΑΙΑΣ ΟΛΥΜΠ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ΑΣΙΛΑΚ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ΧΑΙΑΣ ΟΛΥΜΠ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ΜΕ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ΧΑΙΑΣ ΟΛΥΜΠ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ΟΥΒ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ΧΑΙΑΣ ΟΛΥΜΠ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ΞΗΡΟΚΑΜΠ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ΧΑΙΑΣ ΟΛΥΜΠ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ΥΚ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ΧΑΙΑΣ ΟΛΥΜΠ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ΕΛΙΔΟΝ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ΙΛΑΛ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ΡΥΟΝΕ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ΙΛΑΛ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ΤΡΑΛΩ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ΙΛΑΛ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ΥΓΑΛΕ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ΑΧΑΡΩ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ΚΙΣΤ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3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ΑΧΑΡΩ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ΠΡΕ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2100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16" name="Πίνακας 3"/>
          <p:cNvGraphicFramePr/>
          <p:nvPr/>
        </p:nvGraphicFramePr>
        <p:xfrm>
          <a:off x="1595880" y="1199160"/>
          <a:ext cx="8999640" cy="4988880"/>
        </p:xfrm>
        <a:graphic>
          <a:graphicData uri="http://schemas.openxmlformats.org/drawingml/2006/table">
            <a:tbl>
              <a:tblPr/>
              <a:tblGrid>
                <a:gridCol w="1973880"/>
                <a:gridCol w="3731040"/>
                <a:gridCol w="2161440"/>
                <a:gridCol w="1133280"/>
              </a:tblGrid>
              <a:tr h="953640">
                <a:tc>
                  <a:txBody>
                    <a:bodyPr lIns="5760" rIns="5760" tIns="57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83600">
                <a:tc rowSpan="20">
                  <a:txBody>
                    <a:bodyPr lIns="5760" rIns="5760" tIns="57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ΡΙΝΘΙ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ΕΜΕΑΣ (ΚΟΙΝΟΤΗΤΑ ΚΑΣΤΡΑΚΙΟΥ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ΣΤΡΑΚ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44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ΟΥΤΡΑΚΙΟΥ-ΠΕΡΑΧΩΡΑΣ (ΚΟΙΝΟΤΗΤΑ ΠΙΣΙΩΝ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ΙΣ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ΑΡΩΝΙΚΟΥ (ΚΟΙΝΟΤΗΤΑ ΑΘΙΚΙΩΝ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ΘΙΚ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ΧΑΣ (ΚΟΙΝΟΤΗΤΑ ΖΕΥΓΟΛΑΤΙΟΥ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ΕΥΓΟΛΑΤ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ΙΚΥΩΝΙΩΝ (ΚΟΙΝΟΤΗΤΑ ΚΛΗΜΕΝΤΙΟΥ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ΛΗΜΕΝΤ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44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 ΝΕΜΕΑΣ (ΚΟΙΝΟΤΗΤΑ ΑΡΧΑΙΩΝ ΚΛΕΩΝΩΝ)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Χ. ΚΛΕΩΝ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ΤΥΜΦΑΛΙΑΣ (ΚΟΙΝΟΤΗΤΑ ΚΑΙΣΑΡΙΟΥ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ΙΣΑ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ΛΥΓΕΙΑΣ (ΚΟΙΝΟΤΗΤΑ ΣΟΦΙΚΟΥ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ΦΙΚ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ΥΡΩΣΤΙΝΗΣ (ΚΟΙΝΟΤΗΤΑ ΔΕΡΒΕΝΙΟΥ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ΕΡΒΕΝ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ΙΚΥΩΝΙΩΝ (ΚΟΙΝΟΤΗΤΑ ΚΡΥΟΝΕΡΙΟΥ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ΡΥΟΝΕ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ΕΝΕΑΣ (ΚΟΙΝΟΤΗΤΑ ΧΙΛΙΟΜΟΔΙΟΥ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ΙΛΙΟΜΟΔ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ΞΥΛΟΚΑΣΤΡΟΥ (ΚΟΙΝΟΤΗΤΑ ΣΤΥΛΙΩΝ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ΤΥΛ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44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ΤΥΜΦΑΛΙΑΣ (ΚΟΙΝΟΤΗΤΑ ΑΣΠΡΟΚΑΜΠΟΥ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ΣΠΡΟΚΑΜΠ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44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ΧΑΣ (ΚΟΙΝΟΤΗΤΑ ΣΟΥΛΗΝΑΡΙΟΥ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ΥΛΗΝΑ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ΥΡΩΣΤΙΝΗΣ (ΚΟΙΝΟΤΗΤΑ ΚΑΛΛΙΘΕ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ΛΙΘΕ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ΧΑΣ (ΚΟΙΝΟΤΗΤΑ ΒΟΧΑΙΚΟΥ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ΧΑΙΚ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ΧΑΣ (ΚΟΙΝΟΤΗΤΑ ΖΕΥΓΟΛΑΤΙΟΥ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ΕΝΤΖ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45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ΩΝ ΘΕΟΔΩΡΩΝ (ΚΟΙΝΟΤΗΤΑ ΑΓ. ΘΕΟΔΩΡΩΝ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. ΘΕΟΔΩΡ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ΥΡΩΣΤΙΝΗΣ (ΚΟΙΝΟΤΗΤΑ ΛΥΚΟΠΟΡΙ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ΥΚΟΠΟΡ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ΑΡΩΝΙΚΟΥ (ΚΟΙΝΟΤΗΤΑ ΓΑΛΑΤΑΚΙΟΥ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ΑΛΑΤΑΚ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5760" rIns="5760" tIns="57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5760" marR="57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3900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18" name="Πίνακας 3"/>
          <p:cNvGraphicFramePr/>
          <p:nvPr/>
        </p:nvGraphicFramePr>
        <p:xfrm>
          <a:off x="1498680" y="1105200"/>
          <a:ext cx="8999640" cy="4933440"/>
        </p:xfrm>
        <a:graphic>
          <a:graphicData uri="http://schemas.openxmlformats.org/drawingml/2006/table">
            <a:tbl>
              <a:tblPr/>
              <a:tblGrid>
                <a:gridCol w="2257560"/>
                <a:gridCol w="3052440"/>
                <a:gridCol w="1961640"/>
                <a:gridCol w="1727640"/>
              </a:tblGrid>
              <a:tr h="906480">
                <a:tc>
                  <a:txBody>
                    <a:bodyPr lIns="6480" rIns="6480" tIns="64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251280">
                <a:tc rowSpan="17">
                  <a:txBody>
                    <a:bodyPr lIns="6480" rIns="6480" tIns="64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ΚΩΝΙ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ΠΑΡΤΗΣ- Δ.Ε. ΚΑΡΥ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ΡΥ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5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ΠΑΡΤΗΣ- Δ.Ε. ΠΕΛΛΑ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ΟΓΚΑΝΙΚ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5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ΠΑΡΤΗΣ- Δ.Ε. ΟΙΝΟΥΝΤ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ΕΛΛΑΣ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5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ΠΑΡΤΗΣ- Δ.Ε. ΜΥΣΤ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ΟΥΣΤΙΑΝ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5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ΠΑΡΤΗΣ- Δ.Ε. ΦΑΡΙΔ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ΟΡΑΝ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5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ΠΑΡΤΗΣ- Δ.Ε. ΦΑΡΙΔ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ΥΚΟΧΩΜ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5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ΠΑΡΤΗΣ- Δ.Ε. ΘΕΡΑΠ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ΦΑΛ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5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ΠΑΡΤΗΣ- Δ.Ε. ΘΕΡΑΠ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ΚΟΡΙΤΣ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5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ΠΑΡΤΗΣ- Δ.Ε. ΘΕΡΑΠ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ΡΥΣΑΦ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5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ΠΑΡΤΗΣ- Δ.Ε. ΘΕΡΑΠΝ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Ι ΑΝΑΡΓΥΡ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5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ΣΠΑΡΤΗΣ- Δ.Ε. ΦΑΡΙΔ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168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ΕΥΡΩΤΑ- Δ.Ε. ΚΡΟΚΕ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ΡΟΚΕ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168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ΕΥΡΩΤΑ- Δ.Ε. ΝΙΑΤ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Σ ΔΗΜΗΤΡΙ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1684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ΕΥΡΩΤΑ- Δ.Ε. ΝΙΑΤ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ΙΑΤ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5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ΜΟΝΕΜΒΑΣΙΑΣ- Δ.Ε. ΖΑΡΑΚ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ΕΙΧΕΑ/ ΡΕΙΧ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5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ΜΟΝΕΜΒΑΣΙΑΣ- Δ.Ε. ΖΑΡΑΚ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ΥΠΑΡΙΣΣ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5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ΜΟΝΕΜΒΑΣΙΑΣ- Δ.Ε. ΖΑΡΑΚ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ΜΠΟΚΑΜΠ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6480" rIns="6480" tIns="64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6480" marR="64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5556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20" name="Πίνακας 3"/>
          <p:cNvGraphicFramePr/>
          <p:nvPr/>
        </p:nvGraphicFramePr>
        <p:xfrm>
          <a:off x="1712160" y="1434600"/>
          <a:ext cx="8767080" cy="4529520"/>
        </p:xfrm>
        <a:graphic>
          <a:graphicData uri="http://schemas.openxmlformats.org/drawingml/2006/table">
            <a:tbl>
              <a:tblPr/>
              <a:tblGrid>
                <a:gridCol w="2219400"/>
                <a:gridCol w="2474640"/>
                <a:gridCol w="2238480"/>
                <a:gridCol w="1834560"/>
              </a:tblGrid>
              <a:tr h="818280"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313200">
                <a:tc rowSpan="12"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ΣΣΗΝΙ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ΥΛΟΥ - ΝΕΣΤΟΡ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ΤΑΜΟΡΦΩΣ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470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ΥΛΟΥ – ΝΕΣΤΟΡ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ΑΣΙΛΙΤΣ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93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ΥΤΙΚΗΣ ΜΑ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ΣΕΡ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42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ΑΜΑΤ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ΤΕΜΙΣ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42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ΣΣΗ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ΓΓΑΝΙΑΚ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42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ΥΤΙΚΗΣ ΜΑ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ΡΟΣΗΛ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42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ΣΣΗ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ΗΛΙΤΣ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42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ΑΜΑΤ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ΑΓΟΝ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42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ΣΣΗ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ΛΑΣ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42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ΧΑΛ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ΨΑ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42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ΥΤΙΚΗΣ ΜΑ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ΞΩ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42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ΡΙΦΥΛΛ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ΛΥΚΟΡΡΙΖ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55584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22" name="Πίνακας 3"/>
          <p:cNvGraphicFramePr/>
          <p:nvPr/>
        </p:nvGraphicFramePr>
        <p:xfrm>
          <a:off x="1595880" y="1134720"/>
          <a:ext cx="8999640" cy="4319640"/>
        </p:xfrm>
        <a:graphic>
          <a:graphicData uri="http://schemas.openxmlformats.org/drawingml/2006/table">
            <a:tbl>
              <a:tblPr/>
              <a:tblGrid>
                <a:gridCol w="1928880"/>
                <a:gridCol w="2487600"/>
                <a:gridCol w="2276280"/>
                <a:gridCol w="2306520"/>
              </a:tblGrid>
              <a:tr h="749520"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70280">
                <a:tc rowSpan="20"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ΡΑΚΛΕΙΟΥ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ΕΡΣΟΝΗΣ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ΟΤΑΜΙ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0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ΕΡΣΟΝΗΣ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ΩΝΙ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0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ΕΡΣΟΝΗΣ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ΒΔ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0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ΕΡΣΟΝΗΣ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ΤΑΛΙΔ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0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ΕΡΣΟΝΗΣ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ΡΑΣΙ ΚΕ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0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ΑΙΣΤ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ΟΜΠ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0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ΑΙΣΤ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Ρ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0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ΑΙΣΤ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ΙΒ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0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ΑΙΣΤ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ΤΡΟΚΕΦΑΛ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0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ΧΑΝΩΝ ΑΣΤΕΡΟΥΣ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ΙΓΟΡΤΥΝ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3264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ΡΑΚΛΕ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ΡΑΚΛΕ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-21/11/25,</a:t>
                      </a:r>
                      <a:br>
                        <a:rPr sz="1200"/>
                      </a:b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-28/11/25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0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ΧΑΝΩΝ ΑΣΤΕΡΟΥΣ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ΑΡΑΚ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0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ΧΑΝΩΝ ΑΣΤΕΡΟΥΣ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ΧΕΝΤΡ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0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ΧΑΝΩΝ ΑΣΤΕΡΟΥΣ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ΣΟΧΩΡ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0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ΙΝΩΑ ΠΕΔΙΑΔ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ΠΟΣΤΟΛ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0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ΙΝΩΑ ΠΕΔΙΑΔ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0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ΙΝΩΑ ΠΕΔΙΑΔ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ΚΙΝ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0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ΙΑΝ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Θ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0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ΙΑΝ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ΡΑΤΟΚΑΜΠ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0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ΙΑΝ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ΨΑΡΗ ΦΟΡΑΔ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23" name="TextBox 2"/>
          <p:cNvSpPr/>
          <p:nvPr/>
        </p:nvSpPr>
        <p:spPr>
          <a:xfrm>
            <a:off x="105840" y="3518640"/>
            <a:ext cx="3888000" cy="369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"/>
            </a:pPr>
            <a:r>
              <a:rPr b="1" lang="el-GR" sz="1800" strike="noStrike" u="none">
                <a:solidFill>
                  <a:srgbClr val="000000"/>
                </a:solidFill>
                <a:effectLst/>
                <a:uFillTx/>
                <a:latin typeface="Calibri"/>
              </a:rPr>
              <a:t> 7</a:t>
            </a:r>
            <a:r>
              <a:rPr b="1" lang="el-GR" sz="1800" strike="noStrike" u="none" baseline="30000">
                <a:solidFill>
                  <a:srgbClr val="000000"/>
                </a:solidFill>
                <a:effectLst/>
                <a:uFillTx/>
                <a:latin typeface="Calibri"/>
              </a:rPr>
              <a:t>η</a:t>
            </a:r>
            <a:r>
              <a:rPr b="1" lang="el-GR" sz="1800" strike="noStrike" u="none">
                <a:solidFill>
                  <a:srgbClr val="000000"/>
                </a:solidFill>
                <a:effectLst/>
                <a:uFillTx/>
                <a:latin typeface="Calibri"/>
              </a:rPr>
              <a:t>  Υ.Πε</a:t>
            </a:r>
            <a:endParaRPr b="0" lang="el-GR" sz="18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3900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25" name="Πίνακας 3"/>
          <p:cNvGraphicFramePr/>
          <p:nvPr/>
        </p:nvGraphicFramePr>
        <p:xfrm>
          <a:off x="1595880" y="1485360"/>
          <a:ext cx="8999640" cy="4766040"/>
        </p:xfrm>
        <a:graphic>
          <a:graphicData uri="http://schemas.openxmlformats.org/drawingml/2006/table">
            <a:tbl>
              <a:tblPr/>
              <a:tblGrid>
                <a:gridCol w="1766880"/>
                <a:gridCol w="1930680"/>
                <a:gridCol w="3187080"/>
                <a:gridCol w="2114280"/>
              </a:tblGrid>
              <a:tr h="962640"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200160">
                <a:tc rowSpan="19"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ΑΝΙΩΝ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ΠΟΚΟΡΩ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ΕΜΠΡΟΣΝΕΡΟΣ ΔΗΜΟΥ ΑΠΟΚΟΡΩ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ΠΟΚΟΡΩ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ΛΙΚΑΜΠ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ΠΟΚΟΡΩ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ΑΖ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ΠΟΚΟΡΩ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ΛΥΒ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ΠΟΚΟΡΩ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ΛΥΒ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ΧΑΝ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ΟΝΤΟΠΟΥΛΑ ΚΕΡΑΜΕ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ΙΣΣΑ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ΛΑΘΕΝ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ΙΣΣΑ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ΧΡΥΣΟΣΚΑΛΙΤΙΣΣ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ΙΣΣΑ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ΣΑΣΑΛ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ΙΣΣΑ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ΣΤΡΟΒΛ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ΝΤΑΝΟΥ - ΣΕΛΙ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ΧΛΑΔΑΚΙΕΣ - ΑΖΟΓΥΡ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ΝΤΑΝΟΥ - ΣΕΛΙ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ΒΟΥΤ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ΝΤΑΝΟΥ - ΣΕΛΙ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ΣΚΛΑΒΟΠΟΥΛΑ - ΜΟΥΣΤΑΚ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ΚΑΝΤΑΝΟΥ - ΣΕΛΙ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ΕΠΑΝΟΧΩΡΙ - ΚΑΜΠΑΝ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ΛΑΤΑΝ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ΜΑΝΟΛΙΟΠΟΥΛ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ΛΑΤΑΝ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ΣΠΗΛ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ΛΑΤΑΝ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ΡΟΔΟΠ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ΛΑΤΑΝ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ΛΑΚΚ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00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ΛΑΤΑΝ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ΑΛΑΙΑ ΡΟΥΜΑΤ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9696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27" name="Πίνακας 3"/>
          <p:cNvGraphicFramePr/>
          <p:nvPr/>
        </p:nvGraphicFramePr>
        <p:xfrm>
          <a:off x="1595880" y="1443240"/>
          <a:ext cx="8999640" cy="4319640"/>
        </p:xfrm>
        <a:graphic>
          <a:graphicData uri="http://schemas.openxmlformats.org/drawingml/2006/table">
            <a:tbl>
              <a:tblPr/>
              <a:tblGrid>
                <a:gridCol w="1768680"/>
                <a:gridCol w="2322000"/>
                <a:gridCol w="2312280"/>
                <a:gridCol w="2596320"/>
              </a:tblGrid>
              <a:tr h="786600"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76400">
                <a:tc rowSpan="20"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ΕΘΥΜΝΗ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ΙΚΗΦΟΡΟΥ ΦΩΚ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ΟΥΣΤΙΚ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ΕΘΥΜ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ΟΥΛΕΔΙΑ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Υ ΒΑΣΙΛΕ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ΛΑΜΠ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ΥΛΟΠΟΤΑ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ΠΛΑΔΙΑ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ΥΛΟΠΟΤΑ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ΥΒ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ΠΠΑ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ΤΩ ΠΟΡ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ΜΑΡ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ΛΙΩΝ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ΠΠΑ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ΧΟΝΤΙΚ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Υ ΒΑΣΙΛΕ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Α ΓΑΛΗ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ΚΑΔ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ΜΝΑΤ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ΠΠΑ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ΩΝΕΣ - ΒΙΛΑΝΔΡΕΔ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ΜΑΡ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ΠΟΔΟΎΛ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ΠΠΑ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ΥΦ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Υ ΒΑΣΙΛΕ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ΕΛΛΙΆ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ΥΛΟΠΟΤΑ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Σ ΜΆΜ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Υ ΒΑΣΙΛΕ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ΙΞΟΡΡΟΥΜ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ΥΛΟΠΟΤΑ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ΕΝΊ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ΚΑΔ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ΗΓ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ΕΘΥΜ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ΕΛΛΊ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Υ ΒΑΣΙΛΕ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ΟΔΑΚΙΝ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9696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29" name="Πίνακας 3"/>
          <p:cNvGraphicFramePr/>
          <p:nvPr/>
        </p:nvGraphicFramePr>
        <p:xfrm>
          <a:off x="1595880" y="1269000"/>
          <a:ext cx="8999640" cy="4319640"/>
        </p:xfrm>
        <a:graphic>
          <a:graphicData uri="http://schemas.openxmlformats.org/drawingml/2006/table">
            <a:tbl>
              <a:tblPr/>
              <a:tblGrid>
                <a:gridCol w="1938960"/>
                <a:gridCol w="2231280"/>
                <a:gridCol w="2261880"/>
                <a:gridCol w="2567520"/>
              </a:tblGrid>
              <a:tr h="874080"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12240">
                      <a:solidFill>
                        <a:srgbClr val="000000"/>
                      </a:solidFill>
                      <a:prstDash val="solid"/>
                    </a:lnR>
                    <a:lnT w="12240">
                      <a:solidFill>
                        <a:srgbClr val="000000"/>
                      </a:solidFill>
                      <a:prstDash val="solid"/>
                    </a:lnT>
                    <a:lnB w="1224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227160">
                <a:tc rowSpan="15"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ΛΑΣΙΘΙΟΥ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b="1" lang="el-GR" sz="11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 </a:t>
                      </a:r>
                      <a:endParaRPr b="0" lang="el-GR" sz="11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12240">
                      <a:solidFill>
                        <a:srgbClr val="000000"/>
                      </a:solidFill>
                      <a:prstDash val="solid"/>
                    </a:lnR>
                    <a:lnT w="12240">
                      <a:solidFill>
                        <a:srgbClr val="000000"/>
                      </a:solidFill>
                      <a:prstDash val="solid"/>
                    </a:lnT>
                    <a:lnB w="1224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Υ ΝΙΚΟΛΑ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ΡΟΥΧ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6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ΗΤ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ΡΥΔ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7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Υ ΝΙΚΟΛΑ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ΡΟΥΣΤ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7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ΟΠΕΔΙΟΥ ΛΑΣΙΘ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ΜΙΝΑΚ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7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ΕΡΑΠΕΤ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ΒΟΥΣ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70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ΗΤ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ΓΟΥΔΟΥ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7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ΗΤ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ΑΚΡ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7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ΕΡΑΠΕΤ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ΕΙΝ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7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ΟΠΕΔΙΟΥ ΛΑΣΙΘ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ΒΡΑΚΟΝΤΕ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7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ΕΡΑΠΕΤ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Λ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7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Υ ΝΙΚΟΛΑ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ΑΠ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7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ΗΤ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ΖΙΡ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7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ΗΤ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ΥΚ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185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ΟΠΕΔΙΟΥ ΛΑΣΙΘ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ΛΑΤ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27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ΗΤΕ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ΛΑΙΚΑΣΤ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2208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31" name="Πίνακας 5"/>
          <p:cNvGraphicFramePr/>
          <p:nvPr/>
        </p:nvGraphicFramePr>
        <p:xfrm>
          <a:off x="2361600" y="1533240"/>
          <a:ext cx="7273800" cy="4140360"/>
        </p:xfrm>
        <a:graphic>
          <a:graphicData uri="http://schemas.openxmlformats.org/drawingml/2006/table">
            <a:tbl>
              <a:tblPr/>
              <a:tblGrid>
                <a:gridCol w="2227320"/>
                <a:gridCol w="3401280"/>
                <a:gridCol w="1644840"/>
              </a:tblGrid>
              <a:tr h="1399320">
                <a:tc>
                  <a:txBody>
                    <a:bodyPr lIns="12600" rIns="12600" tIns="126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Ε 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ΗΜΕΡΟΜΗΝΙΑ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451080">
                <a:tc rowSpan="6">
                  <a:txBody>
                    <a:bodyPr lIns="12600" rIns="12600" tIns="126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ΑΤΤΚΗΣ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ΑΦ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4291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ΤΡΟΥΠΟ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517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ΕΑΣ ΙΩΝ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407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Λ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506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ΛΙΟΥΠΟ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4291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ΙΣΑΡΙΑ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32" name="TextBox 2"/>
          <p:cNvSpPr/>
          <p:nvPr/>
        </p:nvSpPr>
        <p:spPr>
          <a:xfrm>
            <a:off x="244440" y="3777840"/>
            <a:ext cx="3888000" cy="369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"/>
            </a:pPr>
            <a:r>
              <a:rPr b="1" lang="el-GR" sz="1800" strike="noStrike" u="none">
                <a:solidFill>
                  <a:srgbClr val="000000"/>
                </a:solidFill>
                <a:effectLst/>
                <a:uFillTx/>
                <a:latin typeface="Calibri"/>
              </a:rPr>
              <a:t> 1</a:t>
            </a:r>
            <a:r>
              <a:rPr b="1" lang="el-GR" sz="1800" strike="noStrike" u="none" baseline="30000">
                <a:solidFill>
                  <a:srgbClr val="000000"/>
                </a:solidFill>
                <a:effectLst/>
                <a:uFillTx/>
                <a:latin typeface="Calibri"/>
              </a:rPr>
              <a:t>η</a:t>
            </a:r>
            <a:r>
              <a:rPr b="1" lang="el-GR" sz="1800" strike="noStrike" u="none">
                <a:solidFill>
                  <a:srgbClr val="000000"/>
                </a:solidFill>
                <a:effectLst/>
                <a:uFillTx/>
                <a:latin typeface="Calibri"/>
              </a:rPr>
              <a:t> και 2</a:t>
            </a:r>
            <a:r>
              <a:rPr b="1" lang="el-GR" sz="1800" strike="noStrike" u="none" baseline="30000">
                <a:solidFill>
                  <a:srgbClr val="000000"/>
                </a:solidFill>
                <a:effectLst/>
                <a:uFillTx/>
                <a:latin typeface="Calibri"/>
              </a:rPr>
              <a:t>η</a:t>
            </a:r>
            <a:r>
              <a:rPr b="1" lang="el-GR" sz="1800" strike="noStrike" u="none">
                <a:solidFill>
                  <a:srgbClr val="000000"/>
                </a:solidFill>
                <a:effectLst/>
                <a:uFillTx/>
                <a:latin typeface="Calibri"/>
              </a:rPr>
              <a:t> Υ.Πε</a:t>
            </a:r>
            <a:endParaRPr b="0" lang="el-GR" sz="18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58068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34" name="Πίνακας 6"/>
          <p:cNvGraphicFramePr/>
          <p:nvPr/>
        </p:nvGraphicFramePr>
        <p:xfrm>
          <a:off x="1595880" y="1358640"/>
          <a:ext cx="8999640" cy="4140360"/>
        </p:xfrm>
        <a:graphic>
          <a:graphicData uri="http://schemas.openxmlformats.org/drawingml/2006/table">
            <a:tbl>
              <a:tblPr/>
              <a:tblGrid>
                <a:gridCol w="2227320"/>
                <a:gridCol w="3401280"/>
                <a:gridCol w="1725480"/>
                <a:gridCol w="1644840"/>
              </a:tblGrid>
              <a:tr h="1399320">
                <a:tc>
                  <a:txBody>
                    <a:bodyPr lIns="12600" rIns="12600" tIns="126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Ε 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ΤΙΚΗ ΕΝΟΤΗΤΑ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ΧΩΡΙΟ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ΗΜΕΡΟΜΗΝΙΑ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451080">
                <a:tc rowSpan="6">
                  <a:txBody>
                    <a:bodyPr lIns="12600" rIns="12600" tIns="126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ΛΗΜΝΟΥ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ΝΕΑΣ ΚΟΥΤΑ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ΟΡΤΙΑΝ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4291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ΜΥΡΙ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ΡΝ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5173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ΑΤΣΙΚ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ΤΣΙΚ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407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ΜΟΥΔ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ΟΥΔ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5061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ΝΕΑΣ ΚΟΥΤΑΛ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ΙΒΑΔ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4291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 ΜΥΡΙ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ΛΑΤ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5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35" name="TextBox 2"/>
          <p:cNvSpPr/>
          <p:nvPr/>
        </p:nvSpPr>
        <p:spPr>
          <a:xfrm>
            <a:off x="216720" y="3657960"/>
            <a:ext cx="3888000" cy="369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"/>
            </a:pPr>
            <a:r>
              <a:rPr b="1" lang="el-GR" sz="1800" strike="noStrike" u="none">
                <a:solidFill>
                  <a:srgbClr val="000000"/>
                </a:solidFill>
                <a:effectLst/>
                <a:uFillTx/>
                <a:latin typeface="Calibri"/>
              </a:rPr>
              <a:t>2</a:t>
            </a:r>
            <a:r>
              <a:rPr b="1" lang="el-GR" sz="1800" strike="noStrike" u="none" baseline="30000">
                <a:solidFill>
                  <a:srgbClr val="000000"/>
                </a:solidFill>
                <a:effectLst/>
                <a:uFillTx/>
                <a:latin typeface="Calibri"/>
              </a:rPr>
              <a:t>η</a:t>
            </a:r>
            <a:r>
              <a:rPr b="1" lang="el-GR" sz="1800" strike="noStrike" u="none">
                <a:solidFill>
                  <a:srgbClr val="000000"/>
                </a:solidFill>
                <a:effectLst/>
                <a:uFillTx/>
                <a:latin typeface="Calibri"/>
              </a:rPr>
              <a:t> Υ.Πε</a:t>
            </a:r>
            <a:endParaRPr b="0" lang="el-GR" sz="18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2208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40" name="Πίνακας 3"/>
          <p:cNvGraphicFramePr/>
          <p:nvPr/>
        </p:nvGraphicFramePr>
        <p:xfrm>
          <a:off x="1595880" y="1098000"/>
          <a:ext cx="8999640" cy="4666680"/>
        </p:xfrm>
        <a:graphic>
          <a:graphicData uri="http://schemas.openxmlformats.org/drawingml/2006/table">
            <a:tbl>
              <a:tblPr/>
              <a:tblGrid>
                <a:gridCol w="2385360"/>
                <a:gridCol w="2486160"/>
                <a:gridCol w="2266200"/>
                <a:gridCol w="1861560"/>
              </a:tblGrid>
              <a:tr h="1137960">
                <a:tc>
                  <a:txBody>
                    <a:bodyPr lIns="7560" rIns="7560" tIns="75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76400">
                <a:tc rowSpan="20">
                  <a:txBody>
                    <a:bodyPr lIns="7560" rIns="7560" tIns="75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ΛΩΡΙΝ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ΡΕΣ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ΤΑΡΤΙΚ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ΡΕΣ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ΡΥΣΤΑΛΛΟΠΗΓ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ΡΕΣΠ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ΨΑΡΑΔ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ΛΩΡΙ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ΟΛΥΠΟΤΑΜ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ΛΩΡΙ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ΡΙΑΝΤΑΦΥΛΛ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n-US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AMYNTAIOY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ΑΡΥΚ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n-US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AMYNTAIOY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ΧΟΒ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n-US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AMYNTAIOY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ΥΜΦΑ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n-US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AMYNTAIOY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ΚΛΗΘ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n-US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AMYNTAIOY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ΕΤ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n-US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AMYNTAIOY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ΑΡΑΓΓ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ΛΩΡΙ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ΕΥ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ΛΩΡΙ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ΡΟΣΟΠΗΓ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ΛΩΡΙ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ΛΑΜΠΟΥ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ΛΩΡΙ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ΧΛΑΔ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ΜΥΝΤΑ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ΛΛ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ΛΩΡΙ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ΙΚ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ΛΩΡΙ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ΠΑΓΙΑΝ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ΜΥΝΤΑ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ΝΙΑΚ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4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ΛΩΡΙ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ΟΦ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7560" rIns="7560" tIns="75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7560" marR="75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6" name="Πίνακας 3"/>
          <p:cNvGraphicFramePr/>
          <p:nvPr/>
        </p:nvGraphicFramePr>
        <p:xfrm>
          <a:off x="1595880" y="1291680"/>
          <a:ext cx="8999640" cy="4274280"/>
        </p:xfrm>
        <a:graphic>
          <a:graphicData uri="http://schemas.openxmlformats.org/drawingml/2006/table">
            <a:tbl>
              <a:tblPr/>
              <a:tblGrid>
                <a:gridCol w="2202840"/>
                <a:gridCol w="2820240"/>
                <a:gridCol w="1961640"/>
                <a:gridCol w="2014560"/>
              </a:tblGrid>
              <a:tr h="1502280">
                <a:tc>
                  <a:txBody>
                    <a:bodyPr lIns="13320" rIns="13320" tIns="133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ΩΡΙΟ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461880">
                <a:tc rowSpan="6">
                  <a:txBody>
                    <a:bodyPr lIns="13320" rIns="13320" tIns="1332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ΩΔΕΚΑΝΗΣΟΥ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ΥΜΝ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ΓΙΝΩΝΤΑ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4618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ΥΜΝ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ΑΘ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4618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ΥΜΝ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ΝΟΡΜΟΣ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4618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ΥΜΝ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ΩΡΑ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4618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ΥΜΝ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Γ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4618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ΥΜΝ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ΘΥΝΟΙ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320" rIns="13320" tIns="1332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320" marR="1332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37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2208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83484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39" name="Πίνακας 3"/>
          <p:cNvGraphicFramePr/>
          <p:nvPr/>
        </p:nvGraphicFramePr>
        <p:xfrm>
          <a:off x="1595880" y="1487160"/>
          <a:ext cx="8999640" cy="4319640"/>
        </p:xfrm>
        <a:graphic>
          <a:graphicData uri="http://schemas.openxmlformats.org/drawingml/2006/table">
            <a:tbl>
              <a:tblPr/>
              <a:tblGrid>
                <a:gridCol w="2536560"/>
                <a:gridCol w="2212920"/>
                <a:gridCol w="2073960"/>
                <a:gridCol w="2175840"/>
              </a:tblGrid>
              <a:tr h="1307160">
                <a:tc>
                  <a:txBody>
                    <a:bodyPr lIns="13680" rIns="13680" tIns="136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1224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3680" rIns="13680" tIns="136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3680" rIns="13680" tIns="136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ΩΡΙΟ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3680" rIns="13680" tIns="136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300960">
                <a:tc rowSpan="10">
                  <a:txBody>
                    <a:bodyPr lIns="13680" rIns="13680" tIns="1368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ΩΔΕΚΑΝΗΣΟΥ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680" marR="13680">
                    <a:lnL w="12240">
                      <a:solidFill>
                        <a:srgbClr val="000000"/>
                      </a:solidFill>
                      <a:prstDash val="solid"/>
                    </a:lnL>
                    <a:lnR w="12240">
                      <a:solidFill>
                        <a:srgbClr val="000000"/>
                      </a:solidFill>
                      <a:prstDash val="solid"/>
                    </a:lnR>
                    <a:lnT w="12240">
                      <a:solidFill>
                        <a:srgbClr val="000000"/>
                      </a:solidFill>
                      <a:prstDash val="solid"/>
                    </a:lnT>
                    <a:lnB w="12240">
                      <a:solidFill>
                        <a:srgbClr val="000000"/>
                      </a:solidFill>
                      <a:prstDash val="soli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 lIns="13680" rIns="13680" tIns="13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ΟΔ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680" marR="1368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ΙΑΝ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300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3680" rIns="13680" tIns="13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ΟΔ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680" marR="1368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ΑΡΙΤΣ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300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3680" rIns="13680" tIns="13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ΟΔ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680" marR="1368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ΡΔ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300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3680" rIns="13680" tIns="13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ΟΔ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680" marR="1368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ΘΕΟΛΟΓ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300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3680" rIns="13680" tIns="13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ΟΔ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680" marR="1368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ΨΙΝΘ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300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3680" rIns="13680" tIns="13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ΟΔ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680" marR="1368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ΟΝΟΛΙΘ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300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3680" rIns="13680" tIns="13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ΟΔ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680" marR="1368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ΠΟΛΛΑΚ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300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3680" rIns="13680" tIns="13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ΟΔ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680" marR="1368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ΜΠΩ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300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3680" rIns="13680" tIns="13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ΟΔ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680" marR="1368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ΑΜΑΤΡ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3009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3680" rIns="13680" tIns="1368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ΟΔ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3680" marR="1368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ΦΑΝΤ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3680" rIns="13680" tIns="1368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3680" marR="1368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8868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41" name="Πίνακας 3"/>
          <p:cNvGraphicFramePr/>
          <p:nvPr/>
        </p:nvGraphicFramePr>
        <p:xfrm>
          <a:off x="1595880" y="1269000"/>
          <a:ext cx="8999640" cy="4319640"/>
        </p:xfrm>
        <a:graphic>
          <a:graphicData uri="http://schemas.openxmlformats.org/drawingml/2006/table">
            <a:tbl>
              <a:tblPr/>
              <a:tblGrid>
                <a:gridCol w="2360160"/>
                <a:gridCol w="2506320"/>
                <a:gridCol w="2256480"/>
                <a:gridCol w="1876320"/>
              </a:tblGrid>
              <a:tr h="1348920">
                <a:tc>
                  <a:txBody>
                    <a:bodyPr lIns="12960" rIns="12960" tIns="129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ΩΡΙΟ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329760">
                <a:tc rowSpan="9">
                  <a:txBody>
                    <a:bodyPr lIns="12960" rIns="12960" tIns="129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ΣΒΟΥ</a:t>
                      </a:r>
                      <a:r>
                        <a:rPr b="1" lang="el-GR" sz="17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 </a:t>
                      </a:r>
                      <a:endParaRPr b="0" lang="el-GR" sz="17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ΥΤΙΛΗ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ΟΥΤ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329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ΥΤΙΛΗ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ΜΦΙΛ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329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ΥΤΙΛΗ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ΤΩ ΤΡΙΤ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329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ΥΤΙΛΗ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ΥΣΤΕΓ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329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ΥΤΙΛΗ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Α ΜΑΡΙ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329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ΥΤΙΛΗ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ΠΑΔ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329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ΥΤΙΛΗ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ΟΡ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329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ΥΤΙΛΗ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ΣΩΜΑΤ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329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ΥΤΙΛΗ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ΚΟΠΕΛ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b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b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8040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43" name="Πίνακας 3"/>
          <p:cNvGraphicFramePr/>
          <p:nvPr/>
        </p:nvGraphicFramePr>
        <p:xfrm>
          <a:off x="1595880" y="1269000"/>
          <a:ext cx="8999640" cy="4319640"/>
        </p:xfrm>
        <a:graphic>
          <a:graphicData uri="http://schemas.openxmlformats.org/drawingml/2006/table">
            <a:tbl>
              <a:tblPr/>
              <a:tblGrid>
                <a:gridCol w="2300040"/>
                <a:gridCol w="3512520"/>
                <a:gridCol w="1782000"/>
                <a:gridCol w="1404720"/>
              </a:tblGrid>
              <a:tr h="1191600">
                <a:tc>
                  <a:txBody>
                    <a:bodyPr lIns="12600" rIns="12600" tIns="126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ΩΡΙΟ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521280">
                <a:tc rowSpan="6">
                  <a:txBody>
                    <a:bodyPr lIns="12600" rIns="12600" tIns="126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ΑΜΟΥ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ΥΤΙΚΗΣ ΣΑ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ΕΚΚ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52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ΥΤΙΚΗΣ ΣΑ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ΛΑΤΑΝ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52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ΑΤΟΛΙΚΗΣ ΣΑ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ΥΡΓ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52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ΥΤΙΚΗΣ ΣΑ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ΡΛΟΒΑΣ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52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ΑΤΟΛΙΚΗΣ ΣΑ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ΟΥΡΛΙΩΤΕ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52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ΑΤΟΛΙΚΗΣ ΣΑ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ΥΤΙΛΗΝΙ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600" rIns="12600" tIns="126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600" marR="126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3036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145" name="Πίνακας 3"/>
          <p:cNvGraphicFramePr/>
          <p:nvPr/>
        </p:nvGraphicFramePr>
        <p:xfrm>
          <a:off x="1498680" y="1053000"/>
          <a:ext cx="8999640" cy="4319640"/>
        </p:xfrm>
        <a:graphic>
          <a:graphicData uri="http://schemas.openxmlformats.org/drawingml/2006/table">
            <a:tbl>
              <a:tblPr/>
              <a:tblGrid>
                <a:gridCol w="2369160"/>
                <a:gridCol w="2527560"/>
                <a:gridCol w="2195640"/>
                <a:gridCol w="1906920"/>
              </a:tblGrid>
              <a:tr h="1191600">
                <a:tc>
                  <a:txBody>
                    <a:bodyPr lIns="12960" rIns="12960" tIns="129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ΩΡΙΟ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521280">
                <a:tc rowSpan="6">
                  <a:txBody>
                    <a:bodyPr lIns="12960" rIns="12960" tIns="1296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6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ΙΟΥ</a:t>
                      </a:r>
                      <a:endParaRPr b="0" lang="el-GR" sz="16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ΡΔΑΜΥΛ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52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ΓΚΑΔ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52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ΑΜΩΤ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52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ΥΡΓ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52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ΣΤ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5212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ΘΥΜΙΑ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2960" rIns="12960" tIns="129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2960" marR="129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46" name="Rectangle: Rounded Corners 9"/>
          <p:cNvSpPr/>
          <p:nvPr/>
        </p:nvSpPr>
        <p:spPr>
          <a:xfrm>
            <a:off x="3571560" y="5963040"/>
            <a:ext cx="7207200" cy="470160"/>
          </a:xfrm>
          <a:prstGeom prst="roundRect">
            <a:avLst>
              <a:gd name="adj" fmla="val 1413"/>
            </a:avLst>
          </a:prstGeom>
          <a:noFill/>
          <a:ln w="6350">
            <a:solidFill>
              <a:srgbClr val="4a66ac">
                <a:shade val="15000"/>
              </a:srgbClr>
            </a:solidFill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lang="el-GR" sz="1200" strike="noStrike" u="none">
                <a:solidFill>
                  <a:schemeClr val="dk1"/>
                </a:solidFill>
                <a:effectLst/>
                <a:uFillTx/>
                <a:latin typeface="Arial"/>
                <a:ea typeface="Arial"/>
              </a:rPr>
              <a:t>.  </a:t>
            </a:r>
            <a:endParaRPr b="0" lang="el-GR" sz="12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sp>
        <p:nvSpPr>
          <p:cNvPr id="147" name="TextBox 6"/>
          <p:cNvSpPr/>
          <p:nvPr/>
        </p:nvSpPr>
        <p:spPr>
          <a:xfrm>
            <a:off x="4538880" y="6059520"/>
            <a:ext cx="7855200" cy="2764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</a:pPr>
            <a:r>
              <a:rPr b="1" lang="el-GR" sz="1200" strike="noStrike" u="none">
                <a:solidFill>
                  <a:schemeClr val="dk1"/>
                </a:solidFill>
                <a:effectLst/>
                <a:uFillTx/>
                <a:latin typeface="Arial"/>
              </a:rPr>
              <a:t>Το πρόγραμμα θα είναι διαθέσιμο αναλυτικά στην ιστοσελίδα του ΕΟΔΥ.  </a:t>
            </a:r>
            <a:endParaRPr b="0" lang="el-GR" sz="12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8" name="Εικόνα 19" descr=""/>
          <p:cNvPicPr/>
          <p:nvPr/>
        </p:nvPicPr>
        <p:blipFill>
          <a:blip r:embed="rId1"/>
          <a:srcRect l="0" t="0" r="21338" b="0"/>
          <a:stretch/>
        </p:blipFill>
        <p:spPr>
          <a:xfrm>
            <a:off x="6791400" y="653040"/>
            <a:ext cx="5399640" cy="457560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49" name="Εικόνα 1" descr=""/>
          <p:cNvPicPr/>
          <p:nvPr/>
        </p:nvPicPr>
        <p:blipFill>
          <a:blip r:embed="rId2"/>
          <a:srcRect l="0" t="11641" r="0" b="0"/>
          <a:stretch/>
        </p:blipFill>
        <p:spPr>
          <a:xfrm>
            <a:off x="6790320" y="3674160"/>
            <a:ext cx="5401080" cy="318348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50" name="Εικόνα 15" descr=""/>
          <p:cNvPicPr/>
          <p:nvPr/>
        </p:nvPicPr>
        <p:blipFill>
          <a:blip r:embed="rId3"/>
          <a:stretch/>
        </p:blipFill>
        <p:spPr>
          <a:xfrm>
            <a:off x="1440" y="692640"/>
            <a:ext cx="6839640" cy="455868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51" name="Εικόνα 27" descr="Εικόνα που περιέχει άτομο, ρουχισμός, νύχι, δάκτυλο&#10;&#10;Το περιεχόμενο που δημιουργείται από AI ενδέχεται να είναι εσφαλμένο."/>
          <p:cNvPicPr/>
          <p:nvPr/>
        </p:nvPicPr>
        <p:blipFill>
          <a:blip r:embed="rId4"/>
          <a:stretch/>
        </p:blipFill>
        <p:spPr>
          <a:xfrm>
            <a:off x="0" y="4262760"/>
            <a:ext cx="1770480" cy="259488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52" name="Εικόνα 29" descr="Εικόνα που περιέχει εσωτερικός χώρος, άτομο, ιατρικός εξοπλισμός, υγειονομική περίθαλψη&#10;&#10;Το περιεχόμενο που δημιουργείται από AI ενδέχεται να είναι εσφαλμένο."/>
          <p:cNvPicPr/>
          <p:nvPr/>
        </p:nvPicPr>
        <p:blipFill>
          <a:blip r:embed="rId5"/>
          <a:stretch/>
        </p:blipFill>
        <p:spPr>
          <a:xfrm>
            <a:off x="1753200" y="4262760"/>
            <a:ext cx="1770480" cy="259488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53" name="Εικόνα 31" descr="Εικόνα που περιέχει άτομο, ρουχισμός, εσωτερικός χώρος, ανθρώπινο πρόσωπο&#10;&#10;Το περιεχόμενο που δημιουργείται από AI ενδέχεται να είναι εσφαλμένο."/>
          <p:cNvPicPr/>
          <p:nvPr/>
        </p:nvPicPr>
        <p:blipFill>
          <a:blip r:embed="rId6"/>
          <a:stretch/>
        </p:blipFill>
        <p:spPr>
          <a:xfrm>
            <a:off x="3488400" y="4278960"/>
            <a:ext cx="1837440" cy="257868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54" name="Εικόνα 33" descr="Εικόνα που περιέχει άτομο, ρουχισμός, παπούτσια, άνδρας&#10;&#10;Το περιεχόμενο που δημιουργείται από AI ενδέχεται να είναι εσφαλμένο."/>
          <p:cNvPicPr/>
          <p:nvPr/>
        </p:nvPicPr>
        <p:blipFill>
          <a:blip r:embed="rId7"/>
          <a:stretch/>
        </p:blipFill>
        <p:spPr>
          <a:xfrm>
            <a:off x="5117760" y="4278960"/>
            <a:ext cx="1722600" cy="259488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55" name="TextBox 16"/>
          <p:cNvSpPr/>
          <p:nvPr/>
        </p:nvSpPr>
        <p:spPr>
          <a:xfrm>
            <a:off x="0" y="0"/>
            <a:ext cx="12191760" cy="1384560"/>
          </a:xfrm>
          <a:prstGeom prst="rect">
            <a:avLst/>
          </a:prstGeom>
          <a:solidFill>
            <a:schemeClr val="lt1">
              <a:alpha val="70000"/>
            </a:schemeClr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>
              <a:lnSpc>
                <a:spcPct val="100000"/>
              </a:lnSpc>
            </a:pPr>
            <a:r>
              <a:rPr b="1" lang="el-GR" sz="2800" strike="noStrike" u="none">
                <a:solidFill>
                  <a:schemeClr val="dk2"/>
                </a:solidFill>
                <a:effectLst/>
                <a:uFillTx/>
                <a:latin typeface="Calibri"/>
                <a:ea typeface="Calibri"/>
              </a:rPr>
              <a:t>Με τις ΚΟΜΥ μειώνουμε τις κοινωνικές ανισότητες, εξασφαλίζοντας αποτελεσματική πρόσβαση σε ποιοτικές υπηρεσίες υγείας και δημόσιας υγείας για ΟΛΟΥΣ. </a:t>
            </a:r>
            <a:endParaRPr b="0" lang="el-GR" sz="28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sp>
        <p:nvSpPr>
          <p:cNvPr id="156" name="TextBox 18"/>
          <p:cNvSpPr/>
          <p:nvPr/>
        </p:nvSpPr>
        <p:spPr>
          <a:xfrm>
            <a:off x="0" y="6351120"/>
            <a:ext cx="12191760" cy="522720"/>
          </a:xfrm>
          <a:prstGeom prst="rect">
            <a:avLst/>
          </a:prstGeom>
          <a:solidFill>
            <a:schemeClr val="lt1">
              <a:alpha val="70000"/>
            </a:schemeClr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>
              <a:lnSpc>
                <a:spcPct val="100000"/>
              </a:lnSpc>
            </a:pPr>
            <a:r>
              <a:rPr b="1" lang="el-GR" sz="2800" strike="noStrike" u="none">
                <a:solidFill>
                  <a:schemeClr val="dk2"/>
                </a:solidFill>
                <a:effectLst/>
                <a:uFillTx/>
                <a:latin typeface="Calibri"/>
                <a:ea typeface="Calibri"/>
              </a:rPr>
              <a:t>Η </a:t>
            </a:r>
            <a:r>
              <a:rPr b="1" lang="el-GR" sz="2800" strike="noStrike" u="none">
                <a:solidFill>
                  <a:schemeClr val="accent3"/>
                </a:solidFill>
                <a:effectLst/>
                <a:uFillTx/>
                <a:latin typeface="Calibri"/>
                <a:ea typeface="Calibri"/>
              </a:rPr>
              <a:t>υγεία</a:t>
            </a:r>
            <a:r>
              <a:rPr b="1" lang="el-GR" sz="2800" strike="noStrike" u="none">
                <a:solidFill>
                  <a:schemeClr val="dk2"/>
                </a:solidFill>
                <a:effectLst/>
                <a:uFillTx/>
                <a:latin typeface="Calibri"/>
                <a:ea typeface="Calibri"/>
              </a:rPr>
              <a:t> είναι </a:t>
            </a:r>
            <a:r>
              <a:rPr b="1" lang="el-GR" sz="2800" strike="noStrike" u="sng">
                <a:solidFill>
                  <a:schemeClr val="dk2"/>
                </a:solidFill>
                <a:effectLst/>
                <a:uFillTx/>
                <a:latin typeface="Calibri"/>
                <a:ea typeface="Calibri"/>
              </a:rPr>
              <a:t>δικαίωμα</a:t>
            </a:r>
            <a:r>
              <a:rPr b="1" lang="el-GR" sz="2800" strike="noStrike" u="none">
                <a:solidFill>
                  <a:schemeClr val="dk2"/>
                </a:solidFill>
                <a:effectLst/>
                <a:uFillTx/>
                <a:latin typeface="Calibri"/>
                <a:ea typeface="Calibri"/>
              </a:rPr>
              <a:t>, όχι προνόμιο.</a:t>
            </a:r>
            <a:endParaRPr b="0" lang="el-GR" sz="28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laceHolder 1"/>
          <p:cNvSpPr>
            <a:spLocks noGrp="1"/>
          </p:cNvSpPr>
          <p:nvPr>
            <p:ph type="title"/>
          </p:nvPr>
        </p:nvSpPr>
        <p:spPr>
          <a:xfrm>
            <a:off x="277560" y="192240"/>
            <a:ext cx="11341800" cy="66384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42" name="Πίνακας 3"/>
          <p:cNvGraphicFramePr/>
          <p:nvPr/>
        </p:nvGraphicFramePr>
        <p:xfrm>
          <a:off x="1595880" y="1158840"/>
          <a:ext cx="8999640" cy="4408200"/>
        </p:xfrm>
        <a:graphic>
          <a:graphicData uri="http://schemas.openxmlformats.org/drawingml/2006/table">
            <a:tbl>
              <a:tblPr/>
              <a:tblGrid>
                <a:gridCol w="2446200"/>
                <a:gridCol w="2580120"/>
                <a:gridCol w="2046960"/>
                <a:gridCol w="1926000"/>
              </a:tblGrid>
              <a:tr h="960480"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72080">
                <a:tc rowSpan="20">
                  <a:txBody>
                    <a:bodyPr lIns="9000" rIns="9000" tIns="90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ΙΕΡΙ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Τ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Σ ΔΗΜΗΤΡΙ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Τ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ΟΦ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ΙΕΡ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Ρ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ΙΕΡΙ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ΙΤΙ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ΤΕΡΙ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ΛΑΦ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Τ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ΟΣΧ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Τ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ΗΛ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ΤΕΡΙΝ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ΡΙΛΟΦ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ΥΔ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ΩΝ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ΛΙΝΔ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ΣΤΑΝ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ΥΔ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ΛΑΙΟΣΤΑ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ΥΔ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ΥΔ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ΥΔ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ΦΕΝΔΑΜ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ΛΙΝΔΡ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ΙΒΑΔ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ΑΤΟΛΙΚΟΥ ΟΛΥΜΠ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. ΠΑΝΤΕΛΕΗΜΟ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ΡΟΝΤ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ΙΟΣ ΣΠΥΡΙΔΩ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ΑΤΟΛΙΚΟΥ ΟΛΥΜΠ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ΛΑΤΑΜΩ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ΑΤΟΛΙΚΟΥ ΟΛΥΜΠ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. ΠΟΡ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2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ΑΤΟΛΙΚΟΥ ΟΛΥΜΠ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ΚΟΤΙ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000" rIns="9000" tIns="90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000" marR="90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62208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44" name="Πίνακας 3"/>
          <p:cNvGraphicFramePr/>
          <p:nvPr/>
        </p:nvGraphicFramePr>
        <p:xfrm>
          <a:off x="1595880" y="1143000"/>
          <a:ext cx="8999640" cy="4625640"/>
        </p:xfrm>
        <a:graphic>
          <a:graphicData uri="http://schemas.openxmlformats.org/drawingml/2006/table">
            <a:tbl>
              <a:tblPr/>
              <a:tblGrid>
                <a:gridCol w="2218680"/>
                <a:gridCol w="3173760"/>
                <a:gridCol w="1927080"/>
                <a:gridCol w="1679400"/>
              </a:tblGrid>
              <a:tr h="951840"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83600">
                <a:tc rowSpan="20"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ΑΘΙ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ΕΡΓΙΝΑΣ (ΒΕΡΟΙ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ΕΡΓΙ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ΙΡΗΝΟΥΠΟΛΗ (ΝΑΟΥΣ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Ω ΖΕΡΒ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ΛΙΚΗΣ (ΑΛΕΞΑΝΔΡΕΙ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ΛΙΚ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ΕΡΓΙΝΑΣ (ΒΕΡΟΙ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ΑΛΑΤΙΤΣ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ΙΡΗΝΟΥΠΟΛΗ (ΝΑΟΥΣ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ΟΛΥΠΛΑΤΑΝ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ΜΕΛΙΚΗΣ (ΑΛΕΞΑΝΔΡΕΙ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ΚΑΘ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ΕΡΓΙΝΑΣ (ΒΕΡΟΙ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ΥΚΕΑ - ΣΥΚ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ΙΡΗΝΟΥΠΟΛΗ (ΝΑΟΥΣ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ΓΓΕΛ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ΛΑΤΕΟΣ (ΑΛΕΞΑΝΔΡΕΙ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ΕΟΚΑΣΤ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ΟΒΡΑΣ (ΒΕΡΟΙ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ΥΤΕ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ΙΡΗΝΟΥΠΟΛΗ (ΝΑΟΥΣ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ΧΑΓΓΕΛ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ΛΑΤΕΟΣ (ΑΛΕΞΑΝΔΡΕΙ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ΤΡΙΚΑΛ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ΠΟΣΤΟΛΟΥ ΠΑΥΛΟΥ (ΒΕΡΟΙ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ΕΑ ΝΙΚΟΜΗΔΕ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ΘΕΜΙΩΝ (ΝΑΟΥΣ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ΟΛΛΑ ΝΕ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ΛΑΤΕΟΣ (ΑΛΕΞΑΝΔΡΕΙ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ΛΑΤΑΝ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ΤΙΓΟΝΙΔΩΝ (ΑΛΕΞΑΝΔΡΕΙ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ΒΑΣΙΛ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ΠΟΣΤΟΛΟΥ ΠΑΥΛΟΥ (ΒΕΡΟΙ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ΟΥΛΟΥ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ΘΕΜΙΩΝ (ΝΑΟΥΣ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ΠΙΣΚΟΠ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360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ΤΙΓΟΝΙΔΩΝ (ΑΛΕΞΑΝΔΡΕΙ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ΤΑΥΡ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80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ΤΙΓΟΝΙΔΩΝ (ΑΛΕΞΑΝΔΡΕΙΑΣ)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ΞΕΧΑΣΜΕ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PlaceHolder 1"/>
          <p:cNvSpPr>
            <a:spLocks noGrp="1"/>
          </p:cNvSpPr>
          <p:nvPr>
            <p:ph type="title"/>
          </p:nvPr>
        </p:nvSpPr>
        <p:spPr>
          <a:xfrm>
            <a:off x="327600" y="225360"/>
            <a:ext cx="11341800" cy="58896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46" name="Πίνακας 3"/>
          <p:cNvGraphicFramePr/>
          <p:nvPr/>
        </p:nvGraphicFramePr>
        <p:xfrm>
          <a:off x="1504440" y="1177200"/>
          <a:ext cx="9091080" cy="5040360"/>
        </p:xfrm>
        <a:graphic>
          <a:graphicData uri="http://schemas.openxmlformats.org/drawingml/2006/table">
            <a:tbl>
              <a:tblPr/>
              <a:tblGrid>
                <a:gridCol w="2094480"/>
                <a:gridCol w="2586960"/>
                <a:gridCol w="2557080"/>
                <a:gridCol w="1852560"/>
              </a:tblGrid>
              <a:tr h="1233360"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90080">
                <a:tc rowSpan="20">
                  <a:txBody>
                    <a:bodyPr lIns="8640" rIns="8640" tIns="864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ΛΛΑ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ΜΩΠ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ΡΧΑΓΓΕΛ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ΛΛ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ΥΤΙΚ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ΜΩΠ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ΘΕΟΔΩΡΑΚ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ΔΕΣΣ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ΗΣ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ΜΩΠ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ΟΥΤΡΑΚΙ-ΠΟΖΑΡ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ΜΩΠ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ΟΤ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ΛΛΑΣ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ΘΥ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ΜΩΠ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ΘΗΡΙΟΠΕΤ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ΔΕΣΣ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ΡΥΔ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ΜΩΠ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ΟΡΜ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ΜΩΠ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ΡΙΚΛΕ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ΛΛ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ΡΑΧΩ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ΜΩΠ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ΙΔ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ΔΕΣΣ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ΕΡΑΣ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ΜΩΠ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ΙΛΩΤ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ΜΩΠ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ΑΡΑΚΙΝΟ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ΕΛΛΑΣ 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ΛΑΚΚ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ΜΩΠ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ΟΥΣΤΑΝ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ΕΔΕΣΣ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ΒΡΥΤΤ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9008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ΛΜΩΠΙ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ΠΡΟΔΡΟΜ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8640" rIns="8640" tIns="864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8640" marR="864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PlaceHolder 1"/>
          <p:cNvSpPr>
            <a:spLocks noGrp="1"/>
          </p:cNvSpPr>
          <p:nvPr>
            <p:ph type="title"/>
          </p:nvPr>
        </p:nvSpPr>
        <p:spPr>
          <a:xfrm>
            <a:off x="352440" y="200520"/>
            <a:ext cx="11341800" cy="639000"/>
          </a:xfrm>
          <a:prstGeom prst="rect">
            <a:avLst/>
          </a:prstGeom>
          <a:noFill/>
          <a:ln w="0">
            <a:noFill/>
          </a:ln>
        </p:spPr>
        <p:txBody>
          <a:bodyPr lIns="108000" rIns="91440" tIns="45720" bIns="45720" anchor="b">
            <a:noAutofit/>
          </a:bodyPr>
          <a:p>
            <a:pPr indent="0">
              <a:lnSpc>
                <a:spcPct val="90000"/>
              </a:lnSpc>
              <a:buNone/>
            </a:pPr>
            <a:r>
              <a:rPr b="1" lang="el-GR" sz="2600" strike="noStrike" u="none">
                <a:solidFill>
                  <a:srgbClr val="31506d"/>
                </a:solidFill>
                <a:effectLst/>
                <a:uFillTx/>
                <a:latin typeface="Calibri"/>
                <a:ea typeface="Calibri"/>
              </a:rPr>
              <a:t>Προγραμματισμός Νοεμβρίου</a:t>
            </a:r>
            <a:endParaRPr b="0" lang="el-GR" sz="26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48" name="Πίνακας 4"/>
          <p:cNvGraphicFramePr/>
          <p:nvPr/>
        </p:nvGraphicFramePr>
        <p:xfrm>
          <a:off x="1626480" y="1180440"/>
          <a:ext cx="9107640" cy="4771440"/>
        </p:xfrm>
        <a:graphic>
          <a:graphicData uri="http://schemas.openxmlformats.org/drawingml/2006/table">
            <a:tbl>
              <a:tblPr/>
              <a:tblGrid>
                <a:gridCol w="2071440"/>
                <a:gridCol w="2825280"/>
                <a:gridCol w="2344680"/>
                <a:gridCol w="1865520"/>
              </a:tblGrid>
              <a:tr h="1221840">
                <a:tc>
                  <a:txBody>
                    <a:bodyPr lIns="10800" rIns="10800" tIns="108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Ε 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1224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ΤΙΚΗ ΕΝΟΤΗΤ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ΟΙΚΙΣΜΟ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ΗΜΕΡΟΜΗΝΙΑ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9bc2e6"/>
                    </a:solidFill>
                  </a:tcPr>
                </a:tc>
              </a:tr>
              <a:tr h="176760">
                <a:tc rowSpan="17">
                  <a:txBody>
                    <a:bodyPr lIns="10800" rIns="10800" tIns="10800" bIns="0"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</a:pPr>
                      <a:r>
                        <a:rPr b="1" lang="el-GR" sz="14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ΘΕΣΣΑΛΟΝΙΚΗΣ</a:t>
                      </a:r>
                      <a:endParaRPr b="0" lang="el-GR" sz="14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12240">
                      <a:solidFill>
                        <a:srgbClr val="000000"/>
                      </a:solidFill>
                      <a:prstDash val="solid"/>
                    </a:lnL>
                    <a:lnR w="12240">
                      <a:solidFill>
                        <a:srgbClr val="000000"/>
                      </a:solidFill>
                      <a:prstDash val="solid"/>
                    </a:lnR>
                    <a:lnT w="12240">
                      <a:solidFill>
                        <a:srgbClr val="000000"/>
                      </a:solidFill>
                      <a:prstDash val="solid"/>
                    </a:lnT>
                    <a:lnB w="1224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ΘΕΡΜΗΣ/Δ.Ε. ΒΑΣΙΛΙΚ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ΒΑΣΙΛΙΚ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ΔΕΛΤΑ/Δ.Ε. ΚΑΛΟΧΩΡΙ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ΚΑΛΟΧΩΡΙ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ΔΕΛΤΑ/Δ.Ε. ΣΙΝΔ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ΙΝΔ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5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ΠΥΛΑΙΑΣ - ΧΟΡΤΙΑΤ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ΠΑΝΟΡΑΜ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ΔΕΛΤ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ΝΑΤΟΛΙΚ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ΘΕΡΜΗΣ/Δ.Ε. ΒΑΣΙΛΙΚ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ΒΑΣΙΛΙΚ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ΔΕΛΤΑ/Δ.Ε. ΣΙΝΔ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ΣΙΝΔ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ΚΟΡΔΕΛΙΟΥ - ΕΥΟΣΜΟΥ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 ΕΥΟΣΜΟ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2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ΠΥΛΑΙΑΣ - ΧΟΡΤΙΑΤ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ΑΣΒΕΣΤΟΧΩΡΙ - ΧΟΡΤΙΑΤΗ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3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331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ΔΕΛΤΑ/Δ.Ε. ΝΕΑΣ ΜΑΓΝΗΣΙΑΣ-ΔΙΑΒΑΤ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ΕΑ ΜΑΓΝΗΣΙΑ - ΔΙΑΒΑΤ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4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2527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ΔΗΜΟΣ ΘΕΡΜΗΣ/Δ.Ε. ΜΙΚ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ΝΕΟ ΡΥΣΙ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9360" rIns="9360" tIns="936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  <a:ea typeface="Arial"/>
                        </a:rPr>
                        <a:t>1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31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ΔΕΛΤΑ/Δ.Ε. ΝΕΑΣ ΜΑΓΝΗΣΙΑΣ-ΔΙΑΒΑΤ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ΕΑ ΜΑΓΝΗΣΙΑ - ΔΙΑΒΑΤ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8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ΧΑΛΚΗΔΟ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ΑΛΚΗΔΟ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19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ΔΕΛΤΑ/Δ.Ε. ΧΑΛΑΣΤΡ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ΧΑΛΑΣΤΡ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0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3192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ΔΕΛΤΑ/Δ.Ε. ΝΕΑΣ ΜΑΓΝΗΣΙΑΣ-ΔΙΑΒΑΤΩΝ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ΝΕΑ ΜΑΓΝΗΣΙ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1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ΧΑΛΚΗΔΟΝΑΣ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 ΧΑΛΚΗΔΟΝΑ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6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176760">
                <a:tc vMerge="1">
                  <a:txBody>
                    <a:bodyPr lIns="90000" rIns="90000" tIns="45000" bIns="45000" anchor="t">
                      <a:noAutofit/>
                    </a:bodyPr>
                    <a:p>
                      <a:endParaRPr b="0" lang="el-GR" sz="18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t" marL="90000" marR="90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9fc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ΔΗΜΟΣ ΠΥΛΑΙΑΣ - ΧΟΡΤΙΑΤΗ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1224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ΦΙΛΥΡΟ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 lIns="10800" rIns="10800" tIns="10800" bIns="0"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</a:pPr>
                      <a:r>
                        <a:rPr b="0" lang="el-GR" sz="1200" strike="noStrike" u="none">
                          <a:solidFill>
                            <a:srgbClr val="000000"/>
                          </a:solidFill>
                          <a:effectLst/>
                          <a:uFillTx/>
                          <a:latin typeface="Calibri"/>
                        </a:rPr>
                        <a:t>27/11/2025</a:t>
                      </a:r>
                      <a:endParaRPr b="0" lang="el-GR" sz="1200" strike="noStrike" u="none">
                        <a:solidFill>
                          <a:srgbClr val="000000"/>
                        </a:solidFill>
                        <a:effectLst/>
                        <a:uFillTx/>
                        <a:latin typeface="Arial"/>
                      </a:endParaRPr>
                    </a:p>
                  </a:txBody>
                  <a:tcPr anchor="ctr" marL="10800" marR="1080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49" name="TextBox 3"/>
          <p:cNvSpPr/>
          <p:nvPr/>
        </p:nvSpPr>
        <p:spPr>
          <a:xfrm>
            <a:off x="-174600" y="3551400"/>
            <a:ext cx="1800720" cy="6458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285840" indent="-285840" algn="ctr">
              <a:lnSpc>
                <a:spcPct val="100000"/>
              </a:lnSpc>
              <a:buClr>
                <a:srgbClr val="000000"/>
              </a:buClr>
              <a:buFont typeface="Wingdings" charset="2"/>
              <a:buChar char=""/>
            </a:pPr>
            <a:r>
              <a:rPr b="1" lang="el-GR" sz="1800" strike="noStrike" u="none">
                <a:solidFill>
                  <a:srgbClr val="000000"/>
                </a:solidFill>
                <a:effectLst/>
                <a:uFillTx/>
                <a:latin typeface="Calibri"/>
              </a:rPr>
              <a:t>3</a:t>
            </a:r>
            <a:r>
              <a:rPr b="1" lang="el-GR" sz="1800" strike="noStrike" u="none" baseline="30000">
                <a:solidFill>
                  <a:srgbClr val="000000"/>
                </a:solidFill>
                <a:effectLst/>
                <a:uFillTx/>
                <a:latin typeface="Calibri"/>
              </a:rPr>
              <a:t>η</a:t>
            </a:r>
            <a:r>
              <a:rPr b="1" lang="el-GR" sz="1800" strike="noStrike" u="none">
                <a:solidFill>
                  <a:srgbClr val="000000"/>
                </a:solidFill>
                <a:effectLst/>
                <a:uFillTx/>
                <a:latin typeface="Calibri"/>
              </a:rPr>
              <a:t> και 4</a:t>
            </a:r>
            <a:r>
              <a:rPr b="1" lang="el-GR" sz="1800" strike="noStrike" u="none" baseline="30000">
                <a:solidFill>
                  <a:srgbClr val="000000"/>
                </a:solidFill>
                <a:effectLst/>
                <a:uFillTx/>
                <a:latin typeface="Calibri"/>
              </a:rPr>
              <a:t>η</a:t>
            </a:r>
            <a:r>
              <a:rPr b="1" lang="el-GR" sz="1800" strike="noStrike" u="none">
                <a:solidFill>
                  <a:srgbClr val="000000"/>
                </a:solidFill>
                <a:effectLst/>
                <a:uFillTx/>
                <a:latin typeface="Calibri"/>
              </a:rPr>
              <a:t>   Υ.Πε</a:t>
            </a:r>
            <a:endParaRPr b="0" lang="el-GR" sz="1800" strike="noStrike" u="none">
              <a:solidFill>
                <a:srgbClr val="000000"/>
              </a:solidFill>
              <a:effectLst/>
              <a:uFillTx/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theme/theme1.xml><?xml version="1.0" encoding="utf-8"?>
<a:theme xmlns:a="http://schemas.openxmlformats.org/drawingml/2006/main" xmlns:r="http://schemas.openxmlformats.org/officeDocument/2006/relationships" name="1_Office Theme">
  <a:themeElements>
    <a:clrScheme name="Blue Warm">
      <a:dk1>
        <a:srgbClr val="000000"/>
      </a:dk1>
      <a:lt1>
        <a:srgbClr val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Arial" pitchFamily="0" charset="1"/>
        <a:ea typeface=""/>
        <a:cs typeface=""/>
      </a:majorFont>
      <a:minorFont>
        <a:latin typeface="Arial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tint val="100000"/>
                <a:shade val="100000"/>
              </a:schemeClr>
            </a:gs>
            <a:gs pos="100000">
              <a:schemeClr val="phClr">
                <a:tint val="50000"/>
                <a:shade val="100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4.xml><?xml version="1.0" encoding="utf-8"?>
<a:theme xmlns:a="http://schemas.openxmlformats.org/drawingml/2006/main" xmlns:r="http://schemas.openxmlformats.org/officeDocument/2006/relationships" name="Office Theme">
  <a:themeElements>
    <a:clrScheme name="LibreOffic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8a303"/>
      </a:accent1>
      <a:accent2>
        <a:srgbClr val="0369a3"/>
      </a:accent2>
      <a:accent3>
        <a:srgbClr val="a33e03"/>
      </a:accent3>
      <a:accent4>
        <a:srgbClr val="8e03a3"/>
      </a:accent4>
      <a:accent5>
        <a:srgbClr val="c99c00"/>
      </a:accent5>
      <a:accent6>
        <a:srgbClr val="c9211e"/>
      </a:accent6>
      <a:hlink>
        <a:srgbClr val="0000ee"/>
      </a:hlink>
      <a:folHlink>
        <a:srgbClr val="551a8b"/>
      </a:folHlink>
    </a:clrScheme>
    <a:fontScheme name="Office">
      <a:majorFont>
        <a:latin typeface="Arial" pitchFamily="0" charset="1"/>
        <a:ea typeface="DejaVu Sans" pitchFamily="0" charset="1"/>
        <a:cs typeface="DejaVu Sans" pitchFamily="0" charset="1"/>
      </a:majorFont>
      <a:minorFont>
        <a:latin typeface="Arial" pitchFamily="0" charset="1"/>
        <a:ea typeface="DejaVu Sans" pitchFamily="0" charset="1"/>
        <a:cs typeface="DejaVu Sans" pitchFamily="0" charset="1"/>
      </a:minorFont>
    </a:fontScheme>
    <a:fmtScheme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prstDash val="solid"/>
          <a:miter/>
        </a:ln>
        <a:ln w="6350" cap="flat" cmpd="sng" algn="ctr">
          <a:prstDash val="solid"/>
          <a:miter/>
        </a:ln>
        <a:ln w="635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</a:theme>
</file>

<file path=customXml/_rels/item1.xml.rels><?xml version="1.0" encoding="UTF-8"?>
<Relationships xmlns="http://schemas.openxmlformats.org/package/2006/relationships"><Relationship Id="rId1" Type="http://schemas.openxmlformats.org/officeDocument/2006/relationships/customXmlProps" Target="itemProps1.xml"/>
</Relationships>
</file>

<file path=customXml/_rels/item2.xml.rels><?xml version="1.0" encoding="UTF-8"?>
<Relationships xmlns="http://schemas.openxmlformats.org/package/2006/relationships"><Relationship Id="rId1" Type="http://schemas.openxmlformats.org/officeDocument/2006/relationships/customXmlProps" Target="itemProps2.xml"/>
</Relationships>
</file>

<file path=customXml/_rels/item3.xml.rels><?xml version="1.0" encoding="UTF-8"?>
<Relationships xmlns="http://schemas.openxmlformats.org/package/2006/relationships"><Relationship Id="rId1" Type="http://schemas.openxmlformats.org/officeDocument/2006/relationships/customXmlProps" Target="itemProps3.xml"/>
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ED3E485FC6DCA4398A3D89E92A8B6B9" ma:contentTypeVersion="17" ma:contentTypeDescription="Create a new document." ma:contentTypeScope="" ma:versionID="0ab895728ec228df17147f48cbe92fba">
  <xsd:schema xmlns:xsd="http://www.w3.org/2001/XMLSchema" xmlns:xs="http://www.w3.org/2001/XMLSchema" xmlns:p="http://schemas.microsoft.com/office/2006/metadata/properties" xmlns:ns2="b92f9df2-9a3a-49cf-b639-5612beca5cf2" xmlns:ns3="24d3bdf8-858b-49a9-82ff-d25d85bbb972" targetNamespace="http://schemas.microsoft.com/office/2006/metadata/properties" ma:root="true" ma:fieldsID="292c4d9e23c4417f72a0bf7bbdc8839b" ns2:_="" ns3:_="">
    <xsd:import namespace="b92f9df2-9a3a-49cf-b639-5612beca5cf2"/>
    <xsd:import namespace="24d3bdf8-858b-49a9-82ff-d25d85bbb97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2f9df2-9a3a-49cf-b639-5612beca5c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d3bdf8-858b-49a9-82ff-d25d85bbb97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c18d4ba9-fbdb-4d43-8839-ebb8451e2d2a}" ma:internalName="TaxCatchAll" ma:showField="CatchAllData" ma:web="24d3bdf8-858b-49a9-82ff-d25d85bbb97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92f9df2-9a3a-49cf-b639-5612beca5cf2">
      <Terms xmlns="http://schemas.microsoft.com/office/infopath/2007/PartnerControls"/>
    </lcf76f155ced4ddcb4097134ff3c332f>
    <TaxCatchAll xmlns="24d3bdf8-858b-49a9-82ff-d25d85bbb972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87D0790-CA08-46C4-AD2C-5676F638225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2f9df2-9a3a-49cf-b639-5612beca5cf2"/>
    <ds:schemaRef ds:uri="24d3bdf8-858b-49a9-82ff-d25d85bbb97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3F845A9-1CD0-483D-BB70-42CCA48ED3E8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24d3bdf8-858b-49a9-82ff-d25d85bbb972"/>
    <ds:schemaRef ds:uri="b92f9df2-9a3a-49cf-b639-5612beca5cf2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8B424F5C-ECE9-420F-9C7A-F363931E0962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89256c7-9946-44df-b379-51beb93fd2d9}" enabled="1" method="Privilege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356</TotalTime>
  <Application>LibreOffice/25.2.6.2$Windows_X86_64 LibreOffice_project/729c5bfe710f5eb71ed3bbde9e06a6065e9c6c5d</Application>
  <AppVersion>15.0000</AppVersion>
  <Words>5448</Words>
  <Paragraphs>3116</Paragraphs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Konstantinos Takos</dc:creator>
  <dc:description/>
  <dc:language>el-GR</dc:language>
  <cp:lastModifiedBy/>
  <cp:lastPrinted>2025-11-07T09:53:41Z</cp:lastPrinted>
  <dcterms:modified xsi:type="dcterms:W3CDTF">2025-11-10T18:34:37Z</dcterms:modified>
  <cp:revision>108</cp:revision>
  <dc:subject/>
  <dc:title>PowerPoint Presentation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ED3E485FC6DCA4398A3D89E92A8B6B9</vt:lpwstr>
  </property>
  <property fmtid="{D5CDD505-2E9C-101B-9397-08002B2CF9AE}" pid="3" name="MSIP_Label_589256c7-9946-44df-b379-51beb93fd2d9_ActionId">
    <vt:lpwstr>e4f49f37-c811-4683-9cd0-f9c7b4d5556b</vt:lpwstr>
  </property>
  <property fmtid="{D5CDD505-2E9C-101B-9397-08002B2CF9AE}" pid="4" name="MSIP_Label_589256c7-9946-44df-b379-51beb93fd2d9_ContentBits">
    <vt:lpwstr>0</vt:lpwstr>
  </property>
  <property fmtid="{D5CDD505-2E9C-101B-9397-08002B2CF9AE}" pid="5" name="MSIP_Label_589256c7-9946-44df-b379-51beb93fd2d9_Enabled">
    <vt:lpwstr>true</vt:lpwstr>
  </property>
  <property fmtid="{D5CDD505-2E9C-101B-9397-08002B2CF9AE}" pid="6" name="MSIP_Label_589256c7-9946-44df-b379-51beb93fd2d9_Method">
    <vt:lpwstr>Privileged</vt:lpwstr>
  </property>
  <property fmtid="{D5CDD505-2E9C-101B-9397-08002B2CF9AE}" pid="7" name="MSIP_Label_589256c7-9946-44df-b379-51beb93fd2d9_Name">
    <vt:lpwstr>589256c7-9946-44df-b379-51beb93fd2d9</vt:lpwstr>
  </property>
  <property fmtid="{D5CDD505-2E9C-101B-9397-08002B2CF9AE}" pid="8" name="MSIP_Label_589256c7-9946-44df-b379-51beb93fd2d9_SetDate">
    <vt:lpwstr>2023-04-07T05:23:23Z</vt:lpwstr>
  </property>
  <property fmtid="{D5CDD505-2E9C-101B-9397-08002B2CF9AE}" pid="9" name="MSIP_Label_589256c7-9946-44df-b379-51beb93fd2d9_SiteId">
    <vt:lpwstr>36da45f1-dd2c-4d1f-af13-5abe46b99921</vt:lpwstr>
  </property>
  <property fmtid="{D5CDD505-2E9C-101B-9397-08002B2CF9AE}" pid="10" name="MediaServiceImageTags">
    <vt:lpwstr/>
  </property>
  <property fmtid="{D5CDD505-2E9C-101B-9397-08002B2CF9AE}" pid="11" name="Notes">
    <vt:i4>4</vt:i4>
  </property>
  <property fmtid="{D5CDD505-2E9C-101B-9397-08002B2CF9AE}" pid="12" name="PresentationFormat">
    <vt:lpwstr>Ευρεία οθόνη</vt:lpwstr>
  </property>
  <property fmtid="{D5CDD505-2E9C-101B-9397-08002B2CF9AE}" pid="13" name="Slides">
    <vt:i4>64</vt:i4>
  </property>
</Properties>
</file>